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9" r:id="rId1"/>
  </p:sldMasterIdLst>
  <p:notesMasterIdLst>
    <p:notesMasterId r:id="rId13"/>
  </p:notesMasterIdLst>
  <p:handoutMasterIdLst>
    <p:handoutMasterId r:id="rId14"/>
  </p:handoutMasterIdLst>
  <p:sldIdLst>
    <p:sldId id="386" r:id="rId2"/>
    <p:sldId id="484" r:id="rId3"/>
    <p:sldId id="492" r:id="rId4"/>
    <p:sldId id="493" r:id="rId5"/>
    <p:sldId id="494" r:id="rId6"/>
    <p:sldId id="501" r:id="rId7"/>
    <p:sldId id="496" r:id="rId8"/>
    <p:sldId id="498" r:id="rId9"/>
    <p:sldId id="497" r:id="rId10"/>
    <p:sldId id="499" r:id="rId11"/>
    <p:sldId id="500" r:id="rId12"/>
  </p:sldIdLst>
  <p:sldSz cx="9144000" cy="6858000" type="screen4x3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3" orient="horz" pos="4179">
          <p15:clr>
            <a:srgbClr val="A4A3A4"/>
          </p15:clr>
        </p15:guide>
        <p15:guide id="5" orient="horz" pos="3997" userDrawn="1">
          <p15:clr>
            <a:srgbClr val="A4A3A4"/>
          </p15:clr>
        </p15:guide>
        <p15:guide id="6" orient="horz" pos="913" userDrawn="1">
          <p15:clr>
            <a:srgbClr val="A4A3A4"/>
          </p15:clr>
        </p15:guide>
        <p15:guide id="7" orient="horz" pos="731" userDrawn="1">
          <p15:clr>
            <a:srgbClr val="A4A3A4"/>
          </p15:clr>
        </p15:guide>
        <p15:guide id="12" pos="635" userDrawn="1">
          <p15:clr>
            <a:srgbClr val="A4A3A4"/>
          </p15:clr>
        </p15:guide>
        <p15:guide id="13" pos="5420" userDrawn="1">
          <p15:clr>
            <a:srgbClr val="A4A3A4"/>
          </p15:clr>
        </p15:guide>
        <p15:guide id="18" pos="930" userDrawn="1">
          <p15:clr>
            <a:srgbClr val="A4A3A4"/>
          </p15:clr>
        </p15:guide>
        <p15:guide id="19" pos="3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8C82"/>
    <a:srgbClr val="EA9416"/>
    <a:srgbClr val="FFFFFF"/>
    <a:srgbClr val="A7A49B"/>
    <a:srgbClr val="D7D3C7"/>
    <a:srgbClr val="E06161"/>
    <a:srgbClr val="7A1818"/>
    <a:srgbClr val="8E8A81"/>
    <a:srgbClr val="AAA188"/>
    <a:srgbClr val="EAE8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150" autoAdjust="0"/>
    <p:restoredTop sz="96362" autoAdjust="0"/>
  </p:normalViewPr>
  <p:slideViewPr>
    <p:cSldViewPr snapToGrid="0">
      <p:cViewPr varScale="1">
        <p:scale>
          <a:sx n="83" d="100"/>
          <a:sy n="83" d="100"/>
        </p:scale>
        <p:origin x="1747" y="82"/>
      </p:cViewPr>
      <p:guideLst>
        <p:guide orient="horz" pos="210"/>
        <p:guide orient="horz" pos="4179"/>
        <p:guide orient="horz" pos="3997"/>
        <p:guide orient="horz" pos="913"/>
        <p:guide orient="horz" pos="731"/>
        <p:guide pos="635"/>
        <p:guide pos="5420"/>
        <p:guide pos="930"/>
        <p:guide pos="33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86"/>
    </p:cViewPr>
  </p:sorterViewPr>
  <p:notesViewPr>
    <p:cSldViewPr snapToGrid="0">
      <p:cViewPr varScale="1">
        <p:scale>
          <a:sx n="98" d="100"/>
          <a:sy n="98" d="100"/>
        </p:scale>
        <p:origin x="-3564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5</c:v>
                </c:pt>
                <c:pt idx="1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5A-4618-ADBE-C0D341C169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7.5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75A-4618-ADBE-C0D341C169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6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75A-4618-ADBE-C0D341C169D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0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2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5.4</c:v>
                </c:pt>
                <c:pt idx="1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075A-4618-ADBE-C0D341C169D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5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7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5.0999999999999996</c:v>
                </c:pt>
                <c:pt idx="1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075A-4618-ADBE-C0D341C169D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d2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A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C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4.5999999999999996</c:v>
                </c:pt>
                <c:pt idx="1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075A-4618-ADBE-C0D341C169D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c2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F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21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.4000000000000004</c:v>
                </c:pt>
                <c:pt idx="1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075A-4618-ADBE-C0D341C169D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b2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24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26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I$2:$I$3</c:f>
              <c:numCache>
                <c:formatCode>General</c:formatCode>
                <c:ptCount val="2"/>
                <c:pt idx="0">
                  <c:v>3.7</c:v>
                </c:pt>
                <c:pt idx="1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075A-4618-ADBE-C0D341C169D8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a2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29-075A-4618-ADBE-C0D341C169D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2B-075A-4618-ADBE-C0D341C169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J$2:$J$3</c:f>
              <c:numCache>
                <c:formatCode>General</c:formatCode>
                <c:ptCount val="2"/>
                <c:pt idx="0">
                  <c:v>3.6</c:v>
                </c:pt>
                <c:pt idx="1">
                  <c:v>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075A-4618-ADBE-C0D341C169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9418</cdr:x>
      <cdr:y>0.45673</cdr:y>
    </cdr:from>
    <cdr:to>
      <cdr:x>0.60582</cdr:x>
      <cdr:y>0.6514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03039" y="2144947"/>
          <a:ext cx="914400" cy="91440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0" tIns="0" rIns="0" bIns="0" rtlCol="0">
          <a:noAutofit/>
        </a:bodyPr>
        <a:lstStyle xmlns:a="http://schemas.openxmlformats.org/drawingml/2006/main"/>
        <a:p xmlns:a="http://schemas.openxmlformats.org/drawingml/2006/main">
          <a:pPr indent="-274320">
            <a:spcAft>
              <a:spcPts val="900"/>
            </a:spcAft>
          </a:pPr>
          <a:r>
            <a:rPr lang="pl-PL" sz="2000" b="1" dirty="0" smtClean="0">
              <a:solidFill>
                <a:schemeClr val="bg1"/>
              </a:solidFill>
              <a:latin typeface="Georgia" pitchFamily="18" charset="0"/>
            </a:rPr>
            <a:t>DEMO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2/2017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10/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761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303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01" y="1"/>
            <a:ext cx="73914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7771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76600" y="1752600"/>
            <a:ext cx="5334000" cy="4419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948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US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76600" y="1752600"/>
            <a:ext cx="5334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US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25908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791201" y="-2057400"/>
            <a:ext cx="152399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8992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234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>
            <a:lvl1pPr>
              <a:defRPr sz="2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286000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en-US" sz="800" i="1" dirty="0" smtClean="0">
                <a:solidFill>
                  <a:srgbClr val="A7A49B"/>
                </a:solidFill>
                <a:latin typeface="Georgia"/>
              </a:rPr>
              <a:t>Big Data Analytics Team Poland</a:t>
            </a:r>
            <a:endParaRPr lang="en-US" sz="800" i="1" dirty="0">
              <a:solidFill>
                <a:srgbClr val="A7A49B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62250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mpty no Footer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286000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Georgia"/>
              </a:rPr>
              <a:t>Big Data Analytics Team Poland</a:t>
            </a:r>
            <a:endParaRPr lang="en-US" sz="800" i="1" dirty="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001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1"/>
            <a:ext cx="9144000" cy="6857999"/>
            <a:chOff x="0" y="1"/>
            <a:chExt cx="9144000" cy="6857999"/>
          </a:xfrm>
        </p:grpSpPr>
        <p:sp>
          <p:nvSpPr>
            <p:cNvPr id="3" name="Rectangle 2"/>
            <p:cNvSpPr/>
            <p:nvPr/>
          </p:nvSpPr>
          <p:spPr bwMode="ltGray">
            <a:xfrm>
              <a:off x="0" y="1447802"/>
              <a:ext cx="9144000" cy="54101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srgbClr val="FFFFFF"/>
                </a:solidFill>
                <a:latin typeface="Georgia" pitchFamily="18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ltGray">
            <a:xfrm>
              <a:off x="0" y="1"/>
              <a:ext cx="9144000" cy="14478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srgbClr val="FFFFFF"/>
                </a:solidFill>
                <a:latin typeface="Georgia" pitchFamily="18" charset="0"/>
              </a:endParaRPr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2286000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en-US" sz="800" i="1" dirty="0" smtClean="0">
                <a:solidFill>
                  <a:srgbClr val="968C6D">
                    <a:lumMod val="60000"/>
                    <a:lumOff val="40000"/>
                  </a:srgbClr>
                </a:solidFill>
                <a:latin typeface="Georgia"/>
              </a:rPr>
              <a:t>Big Data Analytics Team Poland</a:t>
            </a:r>
            <a:endParaRPr lang="en-US" sz="800" i="1" dirty="0">
              <a:solidFill>
                <a:srgbClr val="968C6D">
                  <a:lumMod val="60000"/>
                  <a:lumOff val="40000"/>
                </a:srgbClr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780620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ustomer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799183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Georgia"/>
              </a:rPr>
              <a:t>Big Data Analytics Team Poland</a:t>
            </a:r>
            <a:endParaRPr lang="en-US" sz="800" i="1" dirty="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2895" y="304800"/>
            <a:ext cx="7137706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514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42967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5527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0772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FFFFFF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427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437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7"/>
          <p:cNvSpPr>
            <a:spLocks noChangeArrowheads="1"/>
          </p:cNvSpPr>
          <p:nvPr/>
        </p:nvSpPr>
        <p:spPr bwMode="gray">
          <a:xfrm>
            <a:off x="1752601" y="4195630"/>
            <a:ext cx="2286000" cy="1980380"/>
          </a:xfrm>
          <a:prstGeom prst="rect">
            <a:avLst/>
          </a:prstGeom>
          <a:solidFill>
            <a:srgbClr val="9A170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8229600" y="4038313"/>
            <a:ext cx="914401" cy="2137697"/>
          </a:xfrm>
          <a:prstGeom prst="rect">
            <a:avLst/>
          </a:prstGeom>
          <a:solidFill>
            <a:srgbClr val="F3BE26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7620001" y="2899976"/>
            <a:ext cx="729522" cy="1295653"/>
          </a:xfrm>
          <a:prstGeom prst="rect">
            <a:avLst/>
          </a:prstGeom>
          <a:solidFill>
            <a:srgbClr val="F3BC87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gray">
          <a:xfrm>
            <a:off x="7620001" y="4038313"/>
            <a:ext cx="729521" cy="2137697"/>
          </a:xfrm>
          <a:prstGeom prst="rect">
            <a:avLst/>
          </a:prstGeom>
          <a:solidFill>
            <a:srgbClr val="E88C14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gray">
          <a:xfrm>
            <a:off x="7239000" y="696094"/>
            <a:ext cx="473687" cy="2274966"/>
          </a:xfrm>
          <a:prstGeom prst="rect">
            <a:avLst/>
          </a:prstGeom>
          <a:solidFill>
            <a:srgbClr val="E669A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gray">
          <a:xfrm>
            <a:off x="7239000" y="2899977"/>
            <a:ext cx="473687" cy="1295653"/>
          </a:xfrm>
          <a:prstGeom prst="rect">
            <a:avLst/>
          </a:prstGeom>
          <a:solidFill>
            <a:srgbClr val="DB4D56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gray">
          <a:xfrm>
            <a:off x="7239000" y="4038313"/>
            <a:ext cx="473687" cy="2137697"/>
          </a:xfrm>
          <a:prstGeom prst="rect">
            <a:avLst/>
          </a:prstGeom>
          <a:solidFill>
            <a:srgbClr val="D13A0D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gray">
          <a:xfrm>
            <a:off x="1752601" y="659475"/>
            <a:ext cx="5622752" cy="2311585"/>
          </a:xfrm>
          <a:prstGeom prst="rect">
            <a:avLst/>
          </a:prstGeom>
          <a:solidFill>
            <a:srgbClr val="D74021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1752601" y="2899977"/>
            <a:ext cx="5622752" cy="1295653"/>
          </a:xfrm>
          <a:prstGeom prst="rect">
            <a:avLst/>
          </a:prstGeom>
          <a:solidFill>
            <a:srgbClr val="CD2F1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16"/>
          <p:cNvSpPr>
            <a:spLocks/>
          </p:cNvSpPr>
          <p:nvPr/>
        </p:nvSpPr>
        <p:spPr bwMode="gray">
          <a:xfrm>
            <a:off x="1752601" y="4038313"/>
            <a:ext cx="5622752" cy="21376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567" y="0"/>
              </a:cxn>
              <a:cxn ang="0">
                <a:pos x="3567" y="1340"/>
              </a:cxn>
              <a:cxn ang="0">
                <a:pos x="1372" y="1340"/>
              </a:cxn>
              <a:cxn ang="0">
                <a:pos x="1372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3567" h="1340">
                <a:moveTo>
                  <a:pt x="0" y="0"/>
                </a:moveTo>
                <a:lnTo>
                  <a:pt x="3567" y="0"/>
                </a:lnTo>
                <a:lnTo>
                  <a:pt x="3567" y="1340"/>
                </a:lnTo>
                <a:lnTo>
                  <a:pt x="1372" y="1340"/>
                </a:lnTo>
                <a:lnTo>
                  <a:pt x="1372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4230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gray">
          <a:xfrm>
            <a:off x="1752601" y="1"/>
            <a:ext cx="5622752" cy="696094"/>
          </a:xfrm>
          <a:prstGeom prst="rect">
            <a:avLst/>
          </a:prstGeom>
          <a:solidFill>
            <a:srgbClr val="EE9C34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ltGray">
          <a:xfrm>
            <a:off x="1752601" y="2882476"/>
            <a:ext cx="5622925" cy="3293534"/>
          </a:xfrm>
          <a:prstGeom prst="rect">
            <a:avLst/>
          </a:prstGeom>
          <a:solidFill>
            <a:srgbClr val="D7402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3800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1"/>
            <a:ext cx="80772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060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0"/>
            <a:ext cx="80772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FFFFFF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422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33401" y="2819400"/>
            <a:ext cx="39623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FFFFFF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654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5096257" y="-2734056"/>
            <a:ext cx="152399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968592" y="5768681"/>
            <a:ext cx="1232283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12822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1752601" y="1"/>
            <a:ext cx="73914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3048000"/>
            <a:ext cx="9144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6" y="2901697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96" name="Group 32"/>
          <p:cNvGrpSpPr/>
          <p:nvPr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9192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1752601" y="1"/>
            <a:ext cx="73914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1752600" y="2899977"/>
            <a:ext cx="63246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72732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1"/>
            <a:ext cx="17526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0"/>
            <a:ext cx="56388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00"/>
            <a:ext cx="56388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7045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5867400"/>
            <a:ext cx="48006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Add legal and copyright disclaimers here.</a:t>
            </a:r>
            <a:endParaRPr lang="en-US" noProof="0" dirty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77185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>
            <a:lvl1pPr>
              <a:defRPr sz="2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0421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Slide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41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7"/>
          <p:cNvSpPr>
            <a:spLocks noChangeArrowheads="1"/>
          </p:cNvSpPr>
          <p:nvPr/>
        </p:nvSpPr>
        <p:spPr bwMode="gray">
          <a:xfrm>
            <a:off x="1752601" y="4195630"/>
            <a:ext cx="2286000" cy="1980380"/>
          </a:xfrm>
          <a:prstGeom prst="rect">
            <a:avLst/>
          </a:prstGeom>
          <a:solidFill>
            <a:srgbClr val="9A170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8229600" y="4038313"/>
            <a:ext cx="914401" cy="21376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7620001" y="2899976"/>
            <a:ext cx="729522" cy="12956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gray">
          <a:xfrm>
            <a:off x="7620001" y="4038313"/>
            <a:ext cx="729521" cy="21376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gray">
          <a:xfrm>
            <a:off x="7239000" y="696094"/>
            <a:ext cx="473687" cy="227496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gray">
          <a:xfrm>
            <a:off x="7239000" y="2899977"/>
            <a:ext cx="473687" cy="129565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gray">
          <a:xfrm>
            <a:off x="7239000" y="4038313"/>
            <a:ext cx="473687" cy="21376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gray">
          <a:xfrm>
            <a:off x="1752601" y="659475"/>
            <a:ext cx="5622752" cy="2311585"/>
          </a:xfrm>
          <a:prstGeom prst="rect">
            <a:avLst/>
          </a:prstGeom>
          <a:solidFill>
            <a:srgbClr val="A7A49B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1752601" y="2899977"/>
            <a:ext cx="5622752" cy="1295653"/>
          </a:xfrm>
          <a:prstGeom prst="rect">
            <a:avLst/>
          </a:prstGeom>
          <a:solidFill>
            <a:srgbClr val="CD2F1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16"/>
          <p:cNvSpPr>
            <a:spLocks/>
          </p:cNvSpPr>
          <p:nvPr/>
        </p:nvSpPr>
        <p:spPr bwMode="gray">
          <a:xfrm>
            <a:off x="1752601" y="4038313"/>
            <a:ext cx="5622752" cy="21376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567" y="0"/>
              </a:cxn>
              <a:cxn ang="0">
                <a:pos x="3567" y="1340"/>
              </a:cxn>
              <a:cxn ang="0">
                <a:pos x="1372" y="1340"/>
              </a:cxn>
              <a:cxn ang="0">
                <a:pos x="1372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3567" h="1340">
                <a:moveTo>
                  <a:pt x="0" y="0"/>
                </a:moveTo>
                <a:lnTo>
                  <a:pt x="3567" y="0"/>
                </a:lnTo>
                <a:lnTo>
                  <a:pt x="3567" y="1340"/>
                </a:lnTo>
                <a:lnTo>
                  <a:pt x="1372" y="1340"/>
                </a:lnTo>
                <a:lnTo>
                  <a:pt x="1372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4230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gray">
          <a:xfrm>
            <a:off x="1752601" y="1"/>
            <a:ext cx="5622752" cy="696094"/>
          </a:xfrm>
          <a:prstGeom prst="rect">
            <a:avLst/>
          </a:prstGeom>
          <a:solidFill>
            <a:srgbClr val="8A867A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7A49B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ltGray">
          <a:xfrm>
            <a:off x="1752601" y="2882476"/>
            <a:ext cx="5622925" cy="3293534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715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1854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ver Slide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94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7"/>
          <p:cNvSpPr>
            <a:spLocks noChangeArrowheads="1"/>
          </p:cNvSpPr>
          <p:nvPr/>
        </p:nvSpPr>
        <p:spPr bwMode="gray">
          <a:xfrm>
            <a:off x="1752601" y="4195630"/>
            <a:ext cx="2286000" cy="1980380"/>
          </a:xfrm>
          <a:prstGeom prst="rect">
            <a:avLst/>
          </a:prstGeom>
          <a:solidFill>
            <a:srgbClr val="9A170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1752602" y="4038313"/>
            <a:ext cx="7391398" cy="21376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752601" y="2899976"/>
            <a:ext cx="6596922" cy="32710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gray">
          <a:xfrm>
            <a:off x="6464301" y="4038313"/>
            <a:ext cx="1885222" cy="2137697"/>
          </a:xfrm>
          <a:prstGeom prst="rect">
            <a:avLst/>
          </a:prstGeom>
          <a:solidFill>
            <a:schemeClr val="accent5">
              <a:lumMod val="40000"/>
              <a:lumOff val="60000"/>
              <a:alpha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gray">
          <a:xfrm>
            <a:off x="7239000" y="696093"/>
            <a:ext cx="473687" cy="54748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gray">
          <a:xfrm>
            <a:off x="7239000" y="2899977"/>
            <a:ext cx="473687" cy="1133317"/>
          </a:xfrm>
          <a:prstGeom prst="rect">
            <a:avLst/>
          </a:prstGeom>
          <a:solidFill>
            <a:schemeClr val="accent5">
              <a:lumMod val="40000"/>
              <a:lumOff val="60000"/>
              <a:alpha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gray">
          <a:xfrm>
            <a:off x="6602165" y="4038313"/>
            <a:ext cx="1110522" cy="2137697"/>
          </a:xfrm>
          <a:prstGeom prst="rect">
            <a:avLst/>
          </a:prstGeom>
          <a:solidFill>
            <a:schemeClr val="accent5">
              <a:lumMod val="60000"/>
              <a:lumOff val="40000"/>
              <a:alpha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gray">
          <a:xfrm>
            <a:off x="1752601" y="659475"/>
            <a:ext cx="5622752" cy="2311585"/>
          </a:xfrm>
          <a:prstGeom prst="rect">
            <a:avLst/>
          </a:prstGeom>
          <a:solidFill>
            <a:srgbClr val="A7A49B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1752601" y="2899977"/>
            <a:ext cx="5622752" cy="1295653"/>
          </a:xfrm>
          <a:prstGeom prst="rect">
            <a:avLst/>
          </a:prstGeom>
          <a:solidFill>
            <a:srgbClr val="CD2F1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16"/>
          <p:cNvSpPr>
            <a:spLocks/>
          </p:cNvSpPr>
          <p:nvPr/>
        </p:nvSpPr>
        <p:spPr bwMode="gray">
          <a:xfrm>
            <a:off x="1752601" y="4038313"/>
            <a:ext cx="5622752" cy="21376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567" y="0"/>
              </a:cxn>
              <a:cxn ang="0">
                <a:pos x="3567" y="1340"/>
              </a:cxn>
              <a:cxn ang="0">
                <a:pos x="1372" y="1340"/>
              </a:cxn>
              <a:cxn ang="0">
                <a:pos x="1372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3567" h="1340">
                <a:moveTo>
                  <a:pt x="0" y="0"/>
                </a:moveTo>
                <a:lnTo>
                  <a:pt x="3567" y="0"/>
                </a:lnTo>
                <a:lnTo>
                  <a:pt x="3567" y="1340"/>
                </a:lnTo>
                <a:lnTo>
                  <a:pt x="1372" y="1340"/>
                </a:lnTo>
                <a:lnTo>
                  <a:pt x="1372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4230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gray">
          <a:xfrm>
            <a:off x="1752601" y="1"/>
            <a:ext cx="5622752" cy="696094"/>
          </a:xfrm>
          <a:prstGeom prst="rect">
            <a:avLst/>
          </a:prstGeom>
          <a:solidFill>
            <a:srgbClr val="8A867A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7A49B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ltGray">
          <a:xfrm>
            <a:off x="1752601" y="2882476"/>
            <a:ext cx="5622925" cy="3293534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200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2" name="PwCFirm"/>
          <p:cNvSpPr txBox="1"/>
          <p:nvPr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496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1"/>
            <a:ext cx="3962400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1" y="1752600"/>
            <a:ext cx="3962399" cy="4419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1149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1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752601"/>
            <a:ext cx="2590800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1" y="1752601"/>
            <a:ext cx="2590799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752601"/>
            <a:ext cx="2590800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0352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3352800"/>
            <a:ext cx="3962400" cy="28194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199" y="3352800"/>
            <a:ext cx="3962401" cy="28194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8077200" cy="14478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946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4038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5334000" cy="4419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544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724856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7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</a:t>
            </a:r>
            <a:br>
              <a:rPr lang="en-US" noProof="0" dirty="0" smtClean="0"/>
            </a:br>
            <a:r>
              <a:rPr lang="en-US" noProof="0" dirty="0" smtClean="0"/>
              <a:t>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1" y="1752600"/>
            <a:ext cx="80771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6324600"/>
            <a:ext cx="5260848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16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96" r:id="rId2"/>
    <p:sldLayoutId id="2147483799" r:id="rId3"/>
    <p:sldLayoutId id="21474838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98" r:id="rId14"/>
    <p:sldLayoutId id="2147483710" r:id="rId15"/>
    <p:sldLayoutId id="2147483794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660" r:id="rId28"/>
    <p:sldLayoutId id="2147483795" r:id="rId29"/>
    <p:sldLayoutId id="2147483797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3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144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pl-PL" dirty="0" smtClean="0"/>
              <a:t>Logistyka i Supply Chain Management z wykorzystaniem R</a:t>
            </a:r>
            <a:br>
              <a:rPr lang="pl-PL" dirty="0" smtClean="0"/>
            </a:br>
            <a:r>
              <a:rPr lang="pl-PL" sz="2400" b="0" dirty="0" smtClean="0"/>
              <a:t>Paweł Pitera, </a:t>
            </a:r>
            <a:r>
              <a:rPr lang="pl-PL" sz="2400" b="0" dirty="0" err="1" smtClean="0"/>
              <a:t>PwC</a:t>
            </a:r>
            <a:r>
              <a:rPr lang="pl-PL" sz="2400" b="0" dirty="0" smtClean="0"/>
              <a:t> Data </a:t>
            </a:r>
            <a:r>
              <a:rPr lang="pl-PL" sz="2400" b="0" dirty="0" smtClean="0"/>
              <a:t>Analytics</a:t>
            </a:r>
            <a:br>
              <a:rPr lang="pl-PL" sz="2400" b="0" dirty="0" smtClean="0"/>
            </a:br>
            <a:r>
              <a:rPr lang="pl-PL" sz="1600" b="0" dirty="0" smtClean="0"/>
              <a:t>pawel.pitera@pwc.com</a:t>
            </a:r>
            <a:endParaRPr lang="en-US" sz="2400" b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1" smtClean="0"/>
              <a:t>www.pwc.com</a:t>
            </a:r>
            <a:endParaRPr lang="en-US" noProof="1"/>
          </a:p>
        </p:txBody>
      </p:sp>
      <p:grpSp>
        <p:nvGrpSpPr>
          <p:cNvPr id="61" name="Group 60"/>
          <p:cNvGrpSpPr/>
          <p:nvPr/>
        </p:nvGrpSpPr>
        <p:grpSpPr>
          <a:xfrm>
            <a:off x="2263775" y="2750511"/>
            <a:ext cx="4606925" cy="3121932"/>
            <a:chOff x="2263775" y="2750511"/>
            <a:chExt cx="4606925" cy="3121932"/>
          </a:xfrm>
        </p:grpSpPr>
        <p:grpSp>
          <p:nvGrpSpPr>
            <p:cNvPr id="3" name="Group 2"/>
            <p:cNvGrpSpPr/>
            <p:nvPr/>
          </p:nvGrpSpPr>
          <p:grpSpPr>
            <a:xfrm>
              <a:off x="2263775" y="2750511"/>
              <a:ext cx="4606925" cy="3121932"/>
              <a:chOff x="2304215" y="2818019"/>
              <a:chExt cx="4526045" cy="3067123"/>
            </a:xfrm>
          </p:grpSpPr>
          <p:sp>
            <p:nvSpPr>
              <p:cNvPr id="132" name="Freeform 88"/>
              <p:cNvSpPr>
                <a:spLocks/>
              </p:cNvSpPr>
              <p:nvPr/>
            </p:nvSpPr>
            <p:spPr bwMode="auto">
              <a:xfrm>
                <a:off x="2304215" y="2818019"/>
                <a:ext cx="4526045" cy="3067123"/>
              </a:xfrm>
              <a:custGeom>
                <a:avLst/>
                <a:gdLst>
                  <a:gd name="T0" fmla="*/ 3895 w 6125"/>
                  <a:gd name="T1" fmla="*/ 17 h 4150"/>
                  <a:gd name="T2" fmla="*/ 4222 w 6125"/>
                  <a:gd name="T3" fmla="*/ 97 h 4150"/>
                  <a:gd name="T4" fmla="*/ 4499 w 6125"/>
                  <a:gd name="T5" fmla="*/ 240 h 4150"/>
                  <a:gd name="T6" fmla="*/ 4729 w 6125"/>
                  <a:gd name="T7" fmla="*/ 433 h 4150"/>
                  <a:gd name="T8" fmla="*/ 4909 w 6125"/>
                  <a:gd name="T9" fmla="*/ 667 h 4150"/>
                  <a:gd name="T10" fmla="*/ 5041 w 6125"/>
                  <a:gd name="T11" fmla="*/ 936 h 4150"/>
                  <a:gd name="T12" fmla="*/ 5127 w 6125"/>
                  <a:gd name="T13" fmla="*/ 1232 h 4150"/>
                  <a:gd name="T14" fmla="*/ 5166 w 6125"/>
                  <a:gd name="T15" fmla="*/ 1542 h 4150"/>
                  <a:gd name="T16" fmla="*/ 5162 w 6125"/>
                  <a:gd name="T17" fmla="*/ 1752 h 4150"/>
                  <a:gd name="T18" fmla="*/ 5474 w 6125"/>
                  <a:gd name="T19" fmla="*/ 1863 h 4150"/>
                  <a:gd name="T20" fmla="*/ 5738 w 6125"/>
                  <a:gd name="T21" fmla="*/ 2051 h 4150"/>
                  <a:gd name="T22" fmla="*/ 5944 w 6125"/>
                  <a:gd name="T23" fmla="*/ 2300 h 4150"/>
                  <a:gd name="T24" fmla="*/ 6078 w 6125"/>
                  <a:gd name="T25" fmla="*/ 2601 h 4150"/>
                  <a:gd name="T26" fmla="*/ 6125 w 6125"/>
                  <a:gd name="T27" fmla="*/ 2937 h 4150"/>
                  <a:gd name="T28" fmla="*/ 6076 w 6125"/>
                  <a:gd name="T29" fmla="*/ 3277 h 4150"/>
                  <a:gd name="T30" fmla="*/ 5941 w 6125"/>
                  <a:gd name="T31" fmla="*/ 3580 h 4150"/>
                  <a:gd name="T32" fmla="*/ 5732 w 6125"/>
                  <a:gd name="T33" fmla="*/ 3832 h 4150"/>
                  <a:gd name="T34" fmla="*/ 5465 w 6125"/>
                  <a:gd name="T35" fmla="*/ 4020 h 4150"/>
                  <a:gd name="T36" fmla="*/ 5151 w 6125"/>
                  <a:gd name="T37" fmla="*/ 4128 h 4150"/>
                  <a:gd name="T38" fmla="*/ 1202 w 6125"/>
                  <a:gd name="T39" fmla="*/ 4150 h 4150"/>
                  <a:gd name="T40" fmla="*/ 864 w 6125"/>
                  <a:gd name="T41" fmla="*/ 4102 h 4150"/>
                  <a:gd name="T42" fmla="*/ 565 w 6125"/>
                  <a:gd name="T43" fmla="*/ 3964 h 4150"/>
                  <a:gd name="T44" fmla="*/ 314 w 6125"/>
                  <a:gd name="T45" fmla="*/ 3754 h 4150"/>
                  <a:gd name="T46" fmla="*/ 130 w 6125"/>
                  <a:gd name="T47" fmla="*/ 3485 h 4150"/>
                  <a:gd name="T48" fmla="*/ 22 w 6125"/>
                  <a:gd name="T49" fmla="*/ 3167 h 4150"/>
                  <a:gd name="T50" fmla="*/ 6 w 6125"/>
                  <a:gd name="T51" fmla="*/ 2818 h 4150"/>
                  <a:gd name="T52" fmla="*/ 87 w 6125"/>
                  <a:gd name="T53" fmla="*/ 2484 h 4150"/>
                  <a:gd name="T54" fmla="*/ 256 w 6125"/>
                  <a:gd name="T55" fmla="*/ 2192 h 4150"/>
                  <a:gd name="T56" fmla="*/ 496 w 6125"/>
                  <a:gd name="T57" fmla="*/ 1960 h 4150"/>
                  <a:gd name="T58" fmla="*/ 792 w 6125"/>
                  <a:gd name="T59" fmla="*/ 1800 h 4150"/>
                  <a:gd name="T60" fmla="*/ 1005 w 6125"/>
                  <a:gd name="T61" fmla="*/ 1678 h 4150"/>
                  <a:gd name="T62" fmla="*/ 1022 w 6125"/>
                  <a:gd name="T63" fmla="*/ 1436 h 4150"/>
                  <a:gd name="T64" fmla="*/ 1120 w 6125"/>
                  <a:gd name="T65" fmla="*/ 1200 h 4150"/>
                  <a:gd name="T66" fmla="*/ 1288 w 6125"/>
                  <a:gd name="T67" fmla="*/ 1013 h 4150"/>
                  <a:gd name="T68" fmla="*/ 1507 w 6125"/>
                  <a:gd name="T69" fmla="*/ 890 h 4150"/>
                  <a:gd name="T70" fmla="*/ 1763 w 6125"/>
                  <a:gd name="T71" fmla="*/ 845 h 4150"/>
                  <a:gd name="T72" fmla="*/ 2031 w 6125"/>
                  <a:gd name="T73" fmla="*/ 894 h 4150"/>
                  <a:gd name="T74" fmla="*/ 2256 w 6125"/>
                  <a:gd name="T75" fmla="*/ 1026 h 4150"/>
                  <a:gd name="T76" fmla="*/ 2362 w 6125"/>
                  <a:gd name="T77" fmla="*/ 801 h 4150"/>
                  <a:gd name="T78" fmla="*/ 2486 w 6125"/>
                  <a:gd name="T79" fmla="*/ 589 h 4150"/>
                  <a:gd name="T80" fmla="*/ 2635 w 6125"/>
                  <a:gd name="T81" fmla="*/ 398 h 4150"/>
                  <a:gd name="T82" fmla="*/ 2817 w 6125"/>
                  <a:gd name="T83" fmla="*/ 234 h 4150"/>
                  <a:gd name="T84" fmla="*/ 3040 w 6125"/>
                  <a:gd name="T85" fmla="*/ 110 h 4150"/>
                  <a:gd name="T86" fmla="*/ 3315 w 6125"/>
                  <a:gd name="T87" fmla="*/ 28 h 4150"/>
                  <a:gd name="T88" fmla="*/ 3648 w 6125"/>
                  <a:gd name="T89" fmla="*/ 0 h 4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125" h="4150">
                    <a:moveTo>
                      <a:pt x="3648" y="0"/>
                    </a:moveTo>
                    <a:lnTo>
                      <a:pt x="3774" y="4"/>
                    </a:lnTo>
                    <a:lnTo>
                      <a:pt x="3895" y="17"/>
                    </a:lnTo>
                    <a:lnTo>
                      <a:pt x="4008" y="35"/>
                    </a:lnTo>
                    <a:lnTo>
                      <a:pt x="4118" y="63"/>
                    </a:lnTo>
                    <a:lnTo>
                      <a:pt x="4222" y="97"/>
                    </a:lnTo>
                    <a:lnTo>
                      <a:pt x="4320" y="138"/>
                    </a:lnTo>
                    <a:lnTo>
                      <a:pt x="4413" y="186"/>
                    </a:lnTo>
                    <a:lnTo>
                      <a:pt x="4499" y="240"/>
                    </a:lnTo>
                    <a:lnTo>
                      <a:pt x="4580" y="297"/>
                    </a:lnTo>
                    <a:lnTo>
                      <a:pt x="4658" y="362"/>
                    </a:lnTo>
                    <a:lnTo>
                      <a:pt x="4729" y="433"/>
                    </a:lnTo>
                    <a:lnTo>
                      <a:pt x="4794" y="507"/>
                    </a:lnTo>
                    <a:lnTo>
                      <a:pt x="4854" y="585"/>
                    </a:lnTo>
                    <a:lnTo>
                      <a:pt x="4909" y="667"/>
                    </a:lnTo>
                    <a:lnTo>
                      <a:pt x="4958" y="754"/>
                    </a:lnTo>
                    <a:lnTo>
                      <a:pt x="5002" y="844"/>
                    </a:lnTo>
                    <a:lnTo>
                      <a:pt x="5041" y="936"/>
                    </a:lnTo>
                    <a:lnTo>
                      <a:pt x="5075" y="1033"/>
                    </a:lnTo>
                    <a:lnTo>
                      <a:pt x="5103" y="1131"/>
                    </a:lnTo>
                    <a:lnTo>
                      <a:pt x="5127" y="1232"/>
                    </a:lnTo>
                    <a:lnTo>
                      <a:pt x="5145" y="1334"/>
                    </a:lnTo>
                    <a:lnTo>
                      <a:pt x="5156" y="1438"/>
                    </a:lnTo>
                    <a:lnTo>
                      <a:pt x="5166" y="1542"/>
                    </a:lnTo>
                    <a:lnTo>
                      <a:pt x="5168" y="1648"/>
                    </a:lnTo>
                    <a:lnTo>
                      <a:pt x="5166" y="1700"/>
                    </a:lnTo>
                    <a:lnTo>
                      <a:pt x="5162" y="1752"/>
                    </a:lnTo>
                    <a:lnTo>
                      <a:pt x="5270" y="1780"/>
                    </a:lnTo>
                    <a:lnTo>
                      <a:pt x="5374" y="1817"/>
                    </a:lnTo>
                    <a:lnTo>
                      <a:pt x="5474" y="1863"/>
                    </a:lnTo>
                    <a:lnTo>
                      <a:pt x="5567" y="1917"/>
                    </a:lnTo>
                    <a:lnTo>
                      <a:pt x="5656" y="1980"/>
                    </a:lnTo>
                    <a:lnTo>
                      <a:pt x="5738" y="2051"/>
                    </a:lnTo>
                    <a:lnTo>
                      <a:pt x="5814" y="2127"/>
                    </a:lnTo>
                    <a:lnTo>
                      <a:pt x="5883" y="2211"/>
                    </a:lnTo>
                    <a:lnTo>
                      <a:pt x="5944" y="2300"/>
                    </a:lnTo>
                    <a:lnTo>
                      <a:pt x="5996" y="2397"/>
                    </a:lnTo>
                    <a:lnTo>
                      <a:pt x="6041" y="2497"/>
                    </a:lnTo>
                    <a:lnTo>
                      <a:pt x="6078" y="2601"/>
                    </a:lnTo>
                    <a:lnTo>
                      <a:pt x="6102" y="2710"/>
                    </a:lnTo>
                    <a:lnTo>
                      <a:pt x="6119" y="2822"/>
                    </a:lnTo>
                    <a:lnTo>
                      <a:pt x="6125" y="2937"/>
                    </a:lnTo>
                    <a:lnTo>
                      <a:pt x="6119" y="3054"/>
                    </a:lnTo>
                    <a:lnTo>
                      <a:pt x="6102" y="3167"/>
                    </a:lnTo>
                    <a:lnTo>
                      <a:pt x="6076" y="3277"/>
                    </a:lnTo>
                    <a:lnTo>
                      <a:pt x="6041" y="3383"/>
                    </a:lnTo>
                    <a:lnTo>
                      <a:pt x="5994" y="3485"/>
                    </a:lnTo>
                    <a:lnTo>
                      <a:pt x="5941" y="3580"/>
                    </a:lnTo>
                    <a:lnTo>
                      <a:pt x="5879" y="3671"/>
                    </a:lnTo>
                    <a:lnTo>
                      <a:pt x="5811" y="3754"/>
                    </a:lnTo>
                    <a:lnTo>
                      <a:pt x="5732" y="3832"/>
                    </a:lnTo>
                    <a:lnTo>
                      <a:pt x="5649" y="3903"/>
                    </a:lnTo>
                    <a:lnTo>
                      <a:pt x="5560" y="3964"/>
                    </a:lnTo>
                    <a:lnTo>
                      <a:pt x="5465" y="4020"/>
                    </a:lnTo>
                    <a:lnTo>
                      <a:pt x="5365" y="4065"/>
                    </a:lnTo>
                    <a:lnTo>
                      <a:pt x="5261" y="4102"/>
                    </a:lnTo>
                    <a:lnTo>
                      <a:pt x="5151" y="4128"/>
                    </a:lnTo>
                    <a:lnTo>
                      <a:pt x="5038" y="4145"/>
                    </a:lnTo>
                    <a:lnTo>
                      <a:pt x="4922" y="4150"/>
                    </a:lnTo>
                    <a:lnTo>
                      <a:pt x="1202" y="4150"/>
                    </a:lnTo>
                    <a:lnTo>
                      <a:pt x="1087" y="4145"/>
                    </a:lnTo>
                    <a:lnTo>
                      <a:pt x="974" y="4128"/>
                    </a:lnTo>
                    <a:lnTo>
                      <a:pt x="864" y="4102"/>
                    </a:lnTo>
                    <a:lnTo>
                      <a:pt x="760" y="4065"/>
                    </a:lnTo>
                    <a:lnTo>
                      <a:pt x="660" y="4020"/>
                    </a:lnTo>
                    <a:lnTo>
                      <a:pt x="565" y="3964"/>
                    </a:lnTo>
                    <a:lnTo>
                      <a:pt x="476" y="3903"/>
                    </a:lnTo>
                    <a:lnTo>
                      <a:pt x="392" y="3832"/>
                    </a:lnTo>
                    <a:lnTo>
                      <a:pt x="314" y="3754"/>
                    </a:lnTo>
                    <a:lnTo>
                      <a:pt x="245" y="3671"/>
                    </a:lnTo>
                    <a:lnTo>
                      <a:pt x="184" y="3580"/>
                    </a:lnTo>
                    <a:lnTo>
                      <a:pt x="130" y="3485"/>
                    </a:lnTo>
                    <a:lnTo>
                      <a:pt x="84" y="3383"/>
                    </a:lnTo>
                    <a:lnTo>
                      <a:pt x="48" y="3277"/>
                    </a:lnTo>
                    <a:lnTo>
                      <a:pt x="22" y="3167"/>
                    </a:lnTo>
                    <a:lnTo>
                      <a:pt x="6" y="3054"/>
                    </a:lnTo>
                    <a:lnTo>
                      <a:pt x="0" y="2937"/>
                    </a:lnTo>
                    <a:lnTo>
                      <a:pt x="6" y="2818"/>
                    </a:lnTo>
                    <a:lnTo>
                      <a:pt x="22" y="2703"/>
                    </a:lnTo>
                    <a:lnTo>
                      <a:pt x="50" y="2592"/>
                    </a:lnTo>
                    <a:lnTo>
                      <a:pt x="87" y="2484"/>
                    </a:lnTo>
                    <a:lnTo>
                      <a:pt x="136" y="2382"/>
                    </a:lnTo>
                    <a:lnTo>
                      <a:pt x="191" y="2283"/>
                    </a:lnTo>
                    <a:lnTo>
                      <a:pt x="256" y="2192"/>
                    </a:lnTo>
                    <a:lnTo>
                      <a:pt x="329" y="2107"/>
                    </a:lnTo>
                    <a:lnTo>
                      <a:pt x="409" y="2029"/>
                    </a:lnTo>
                    <a:lnTo>
                      <a:pt x="496" y="1960"/>
                    </a:lnTo>
                    <a:lnTo>
                      <a:pt x="589" y="1897"/>
                    </a:lnTo>
                    <a:lnTo>
                      <a:pt x="688" y="1845"/>
                    </a:lnTo>
                    <a:lnTo>
                      <a:pt x="792" y="1800"/>
                    </a:lnTo>
                    <a:lnTo>
                      <a:pt x="899" y="1767"/>
                    </a:lnTo>
                    <a:lnTo>
                      <a:pt x="1013" y="1743"/>
                    </a:lnTo>
                    <a:lnTo>
                      <a:pt x="1005" y="1678"/>
                    </a:lnTo>
                    <a:lnTo>
                      <a:pt x="1002" y="1611"/>
                    </a:lnTo>
                    <a:lnTo>
                      <a:pt x="1007" y="1522"/>
                    </a:lnTo>
                    <a:lnTo>
                      <a:pt x="1022" y="1436"/>
                    </a:lnTo>
                    <a:lnTo>
                      <a:pt x="1046" y="1353"/>
                    </a:lnTo>
                    <a:lnTo>
                      <a:pt x="1080" y="1274"/>
                    </a:lnTo>
                    <a:lnTo>
                      <a:pt x="1120" y="1200"/>
                    </a:lnTo>
                    <a:lnTo>
                      <a:pt x="1169" y="1131"/>
                    </a:lnTo>
                    <a:lnTo>
                      <a:pt x="1225" y="1068"/>
                    </a:lnTo>
                    <a:lnTo>
                      <a:pt x="1288" y="1013"/>
                    </a:lnTo>
                    <a:lnTo>
                      <a:pt x="1355" y="964"/>
                    </a:lnTo>
                    <a:lnTo>
                      <a:pt x="1429" y="923"/>
                    </a:lnTo>
                    <a:lnTo>
                      <a:pt x="1507" y="890"/>
                    </a:lnTo>
                    <a:lnTo>
                      <a:pt x="1589" y="866"/>
                    </a:lnTo>
                    <a:lnTo>
                      <a:pt x="1674" y="851"/>
                    </a:lnTo>
                    <a:lnTo>
                      <a:pt x="1763" y="845"/>
                    </a:lnTo>
                    <a:lnTo>
                      <a:pt x="1856" y="851"/>
                    </a:lnTo>
                    <a:lnTo>
                      <a:pt x="1946" y="868"/>
                    </a:lnTo>
                    <a:lnTo>
                      <a:pt x="2031" y="894"/>
                    </a:lnTo>
                    <a:lnTo>
                      <a:pt x="2111" y="929"/>
                    </a:lnTo>
                    <a:lnTo>
                      <a:pt x="2185" y="974"/>
                    </a:lnTo>
                    <a:lnTo>
                      <a:pt x="2256" y="1026"/>
                    </a:lnTo>
                    <a:lnTo>
                      <a:pt x="2289" y="949"/>
                    </a:lnTo>
                    <a:lnTo>
                      <a:pt x="2325" y="875"/>
                    </a:lnTo>
                    <a:lnTo>
                      <a:pt x="2362" y="801"/>
                    </a:lnTo>
                    <a:lnTo>
                      <a:pt x="2401" y="728"/>
                    </a:lnTo>
                    <a:lnTo>
                      <a:pt x="2444" y="658"/>
                    </a:lnTo>
                    <a:lnTo>
                      <a:pt x="2486" y="589"/>
                    </a:lnTo>
                    <a:lnTo>
                      <a:pt x="2533" y="522"/>
                    </a:lnTo>
                    <a:lnTo>
                      <a:pt x="2583" y="457"/>
                    </a:lnTo>
                    <a:lnTo>
                      <a:pt x="2635" y="398"/>
                    </a:lnTo>
                    <a:lnTo>
                      <a:pt x="2691" y="340"/>
                    </a:lnTo>
                    <a:lnTo>
                      <a:pt x="2752" y="286"/>
                    </a:lnTo>
                    <a:lnTo>
                      <a:pt x="2817" y="234"/>
                    </a:lnTo>
                    <a:lnTo>
                      <a:pt x="2886" y="188"/>
                    </a:lnTo>
                    <a:lnTo>
                      <a:pt x="2960" y="147"/>
                    </a:lnTo>
                    <a:lnTo>
                      <a:pt x="3040" y="110"/>
                    </a:lnTo>
                    <a:lnTo>
                      <a:pt x="3125" y="76"/>
                    </a:lnTo>
                    <a:lnTo>
                      <a:pt x="3217" y="50"/>
                    </a:lnTo>
                    <a:lnTo>
                      <a:pt x="3315" y="28"/>
                    </a:lnTo>
                    <a:lnTo>
                      <a:pt x="3419" y="13"/>
                    </a:lnTo>
                    <a:lnTo>
                      <a:pt x="3531" y="4"/>
                    </a:lnTo>
                    <a:lnTo>
                      <a:pt x="3648" y="0"/>
                    </a:lnTo>
                    <a:close/>
                  </a:path>
                </a:pathLst>
              </a:custGeom>
              <a:noFill/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134"/>
              <p:cNvSpPr>
                <a:spLocks noEditPoints="1"/>
              </p:cNvSpPr>
              <p:nvPr/>
            </p:nvSpPr>
            <p:spPr bwMode="auto">
              <a:xfrm>
                <a:off x="5105446" y="4478930"/>
                <a:ext cx="1098340" cy="759707"/>
              </a:xfrm>
              <a:custGeom>
                <a:avLst/>
                <a:gdLst>
                  <a:gd name="T0" fmla="*/ 2889 w 5943"/>
                  <a:gd name="T1" fmla="*/ 2683 h 4110"/>
                  <a:gd name="T2" fmla="*/ 2889 w 5943"/>
                  <a:gd name="T3" fmla="*/ 2804 h 4110"/>
                  <a:gd name="T4" fmla="*/ 3003 w 5943"/>
                  <a:gd name="T5" fmla="*/ 2840 h 4110"/>
                  <a:gd name="T6" fmla="*/ 3073 w 5943"/>
                  <a:gd name="T7" fmla="*/ 2742 h 4110"/>
                  <a:gd name="T8" fmla="*/ 3003 w 5943"/>
                  <a:gd name="T9" fmla="*/ 2645 h 4110"/>
                  <a:gd name="T10" fmla="*/ 4332 w 5943"/>
                  <a:gd name="T11" fmla="*/ 2497 h 4110"/>
                  <a:gd name="T12" fmla="*/ 3571 w 5943"/>
                  <a:gd name="T13" fmla="*/ 732 h 4110"/>
                  <a:gd name="T14" fmla="*/ 4590 w 5943"/>
                  <a:gd name="T15" fmla="*/ 767 h 4110"/>
                  <a:gd name="T16" fmla="*/ 4650 w 5943"/>
                  <a:gd name="T17" fmla="*/ 891 h 4110"/>
                  <a:gd name="T18" fmla="*/ 3571 w 5943"/>
                  <a:gd name="T19" fmla="*/ 265 h 4110"/>
                  <a:gd name="T20" fmla="*/ 1293 w 5943"/>
                  <a:gd name="T21" fmla="*/ 891 h 4110"/>
                  <a:gd name="T22" fmla="*/ 1353 w 5943"/>
                  <a:gd name="T23" fmla="*/ 767 h 4110"/>
                  <a:gd name="T24" fmla="*/ 2372 w 5943"/>
                  <a:gd name="T25" fmla="*/ 732 h 4110"/>
                  <a:gd name="T26" fmla="*/ 2503 w 5943"/>
                  <a:gd name="T27" fmla="*/ 0 h 4110"/>
                  <a:gd name="T28" fmla="*/ 2619 w 5943"/>
                  <a:gd name="T29" fmla="*/ 65 h 4110"/>
                  <a:gd name="T30" fmla="*/ 3306 w 5943"/>
                  <a:gd name="T31" fmla="*/ 732 h 4110"/>
                  <a:gd name="T32" fmla="*/ 3346 w 5943"/>
                  <a:gd name="T33" fmla="*/ 39 h 4110"/>
                  <a:gd name="T34" fmla="*/ 5811 w 5943"/>
                  <a:gd name="T35" fmla="*/ 0 h 4110"/>
                  <a:gd name="T36" fmla="*/ 5925 w 5943"/>
                  <a:gd name="T37" fmla="*/ 65 h 4110"/>
                  <a:gd name="T38" fmla="*/ 5938 w 5943"/>
                  <a:gd name="T39" fmla="*/ 1640 h 4110"/>
                  <a:gd name="T40" fmla="*/ 5846 w 5943"/>
                  <a:gd name="T41" fmla="*/ 1732 h 4110"/>
                  <a:gd name="T42" fmla="*/ 5104 w 5943"/>
                  <a:gd name="T43" fmla="*/ 1811 h 4110"/>
                  <a:gd name="T44" fmla="*/ 5218 w 5943"/>
                  <a:gd name="T45" fmla="*/ 1876 h 4110"/>
                  <a:gd name="T46" fmla="*/ 5218 w 5943"/>
                  <a:gd name="T47" fmla="*/ 2010 h 4110"/>
                  <a:gd name="T48" fmla="*/ 5104 w 5943"/>
                  <a:gd name="T49" fmla="*/ 2076 h 4110"/>
                  <a:gd name="T50" fmla="*/ 4634 w 5943"/>
                  <a:gd name="T51" fmla="*/ 2847 h 4110"/>
                  <a:gd name="T52" fmla="*/ 4527 w 5943"/>
                  <a:gd name="T53" fmla="*/ 2932 h 4110"/>
                  <a:gd name="T54" fmla="*/ 3586 w 5943"/>
                  <a:gd name="T55" fmla="*/ 3053 h 4110"/>
                  <a:gd name="T56" fmla="*/ 3708 w 5943"/>
                  <a:gd name="T57" fmla="*/ 3112 h 4110"/>
                  <a:gd name="T58" fmla="*/ 3739 w 5943"/>
                  <a:gd name="T59" fmla="*/ 3247 h 4110"/>
                  <a:gd name="T60" fmla="*/ 3654 w 5943"/>
                  <a:gd name="T61" fmla="*/ 3354 h 4110"/>
                  <a:gd name="T62" fmla="*/ 3073 w 5943"/>
                  <a:gd name="T63" fmla="*/ 3641 h 4110"/>
                  <a:gd name="T64" fmla="*/ 3438 w 5943"/>
                  <a:gd name="T65" fmla="*/ 3684 h 4110"/>
                  <a:gd name="T66" fmla="*/ 5220 w 5943"/>
                  <a:gd name="T67" fmla="*/ 3774 h 4110"/>
                  <a:gd name="T68" fmla="*/ 5317 w 5943"/>
                  <a:gd name="T69" fmla="*/ 3843 h 4110"/>
                  <a:gd name="T70" fmla="*/ 5281 w 5943"/>
                  <a:gd name="T71" fmla="*/ 3958 h 4110"/>
                  <a:gd name="T72" fmla="*/ 3458 w 5943"/>
                  <a:gd name="T73" fmla="*/ 4009 h 4110"/>
                  <a:gd name="T74" fmla="*/ 3387 w 5943"/>
                  <a:gd name="T75" fmla="*/ 4106 h 4110"/>
                  <a:gd name="T76" fmla="*/ 2527 w 5943"/>
                  <a:gd name="T77" fmla="*/ 4092 h 4110"/>
                  <a:gd name="T78" fmla="*/ 2485 w 5943"/>
                  <a:gd name="T79" fmla="*/ 3978 h 4110"/>
                  <a:gd name="T80" fmla="*/ 640 w 5943"/>
                  <a:gd name="T81" fmla="*/ 3937 h 4110"/>
                  <a:gd name="T82" fmla="*/ 640 w 5943"/>
                  <a:gd name="T83" fmla="*/ 3816 h 4110"/>
                  <a:gd name="T84" fmla="*/ 2485 w 5943"/>
                  <a:gd name="T85" fmla="*/ 3774 h 4110"/>
                  <a:gd name="T86" fmla="*/ 2527 w 5943"/>
                  <a:gd name="T87" fmla="*/ 3661 h 4110"/>
                  <a:gd name="T88" fmla="*/ 2870 w 5943"/>
                  <a:gd name="T89" fmla="*/ 3370 h 4110"/>
                  <a:gd name="T90" fmla="*/ 2258 w 5943"/>
                  <a:gd name="T91" fmla="*/ 3336 h 4110"/>
                  <a:gd name="T92" fmla="*/ 2199 w 5943"/>
                  <a:gd name="T93" fmla="*/ 3211 h 4110"/>
                  <a:gd name="T94" fmla="*/ 2258 w 5943"/>
                  <a:gd name="T95" fmla="*/ 3087 h 4110"/>
                  <a:gd name="T96" fmla="*/ 2507 w 5943"/>
                  <a:gd name="T97" fmla="*/ 3053 h 4110"/>
                  <a:gd name="T98" fmla="*/ 1383 w 5943"/>
                  <a:gd name="T99" fmla="*/ 2919 h 4110"/>
                  <a:gd name="T100" fmla="*/ 1299 w 5943"/>
                  <a:gd name="T101" fmla="*/ 2813 h 4110"/>
                  <a:gd name="T102" fmla="*/ 804 w 5943"/>
                  <a:gd name="T103" fmla="*/ 2071 h 4110"/>
                  <a:gd name="T104" fmla="*/ 712 w 5943"/>
                  <a:gd name="T105" fmla="*/ 1979 h 4110"/>
                  <a:gd name="T106" fmla="*/ 747 w 5943"/>
                  <a:gd name="T107" fmla="*/ 1849 h 4110"/>
                  <a:gd name="T108" fmla="*/ 947 w 5943"/>
                  <a:gd name="T109" fmla="*/ 1811 h 4110"/>
                  <a:gd name="T110" fmla="*/ 65 w 5943"/>
                  <a:gd name="T111" fmla="*/ 1719 h 4110"/>
                  <a:gd name="T112" fmla="*/ 0 w 5943"/>
                  <a:gd name="T113" fmla="*/ 1604 h 4110"/>
                  <a:gd name="T114" fmla="*/ 40 w 5943"/>
                  <a:gd name="T115" fmla="*/ 39 h 4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943" h="4110">
                    <a:moveTo>
                      <a:pt x="2972" y="2639"/>
                    </a:moveTo>
                    <a:lnTo>
                      <a:pt x="2940" y="2645"/>
                    </a:lnTo>
                    <a:lnTo>
                      <a:pt x="2911" y="2659"/>
                    </a:lnTo>
                    <a:lnTo>
                      <a:pt x="2889" y="2683"/>
                    </a:lnTo>
                    <a:lnTo>
                      <a:pt x="2875" y="2710"/>
                    </a:lnTo>
                    <a:lnTo>
                      <a:pt x="2870" y="2742"/>
                    </a:lnTo>
                    <a:lnTo>
                      <a:pt x="2875" y="2775"/>
                    </a:lnTo>
                    <a:lnTo>
                      <a:pt x="2889" y="2804"/>
                    </a:lnTo>
                    <a:lnTo>
                      <a:pt x="2911" y="2825"/>
                    </a:lnTo>
                    <a:lnTo>
                      <a:pt x="2940" y="2840"/>
                    </a:lnTo>
                    <a:lnTo>
                      <a:pt x="2972" y="2845"/>
                    </a:lnTo>
                    <a:lnTo>
                      <a:pt x="3003" y="2840"/>
                    </a:lnTo>
                    <a:lnTo>
                      <a:pt x="3032" y="2825"/>
                    </a:lnTo>
                    <a:lnTo>
                      <a:pt x="3054" y="2804"/>
                    </a:lnTo>
                    <a:lnTo>
                      <a:pt x="3068" y="2775"/>
                    </a:lnTo>
                    <a:lnTo>
                      <a:pt x="3073" y="2742"/>
                    </a:lnTo>
                    <a:lnTo>
                      <a:pt x="3068" y="2710"/>
                    </a:lnTo>
                    <a:lnTo>
                      <a:pt x="3054" y="2683"/>
                    </a:lnTo>
                    <a:lnTo>
                      <a:pt x="3032" y="2659"/>
                    </a:lnTo>
                    <a:lnTo>
                      <a:pt x="3003" y="2645"/>
                    </a:lnTo>
                    <a:lnTo>
                      <a:pt x="2972" y="2639"/>
                    </a:lnTo>
                    <a:close/>
                    <a:moveTo>
                      <a:pt x="1611" y="1050"/>
                    </a:moveTo>
                    <a:lnTo>
                      <a:pt x="1611" y="2497"/>
                    </a:lnTo>
                    <a:lnTo>
                      <a:pt x="4332" y="2497"/>
                    </a:lnTo>
                    <a:lnTo>
                      <a:pt x="4332" y="1050"/>
                    </a:lnTo>
                    <a:lnTo>
                      <a:pt x="1611" y="1050"/>
                    </a:lnTo>
                    <a:close/>
                    <a:moveTo>
                      <a:pt x="3571" y="265"/>
                    </a:moveTo>
                    <a:lnTo>
                      <a:pt x="3571" y="732"/>
                    </a:lnTo>
                    <a:lnTo>
                      <a:pt x="4491" y="732"/>
                    </a:lnTo>
                    <a:lnTo>
                      <a:pt x="4527" y="736"/>
                    </a:lnTo>
                    <a:lnTo>
                      <a:pt x="4560" y="749"/>
                    </a:lnTo>
                    <a:lnTo>
                      <a:pt x="4590" y="767"/>
                    </a:lnTo>
                    <a:lnTo>
                      <a:pt x="4614" y="792"/>
                    </a:lnTo>
                    <a:lnTo>
                      <a:pt x="4634" y="821"/>
                    </a:lnTo>
                    <a:lnTo>
                      <a:pt x="4646" y="855"/>
                    </a:lnTo>
                    <a:lnTo>
                      <a:pt x="4650" y="891"/>
                    </a:lnTo>
                    <a:lnTo>
                      <a:pt x="4650" y="1378"/>
                    </a:lnTo>
                    <a:lnTo>
                      <a:pt x="5678" y="1378"/>
                    </a:lnTo>
                    <a:lnTo>
                      <a:pt x="5678" y="265"/>
                    </a:lnTo>
                    <a:lnTo>
                      <a:pt x="3571" y="265"/>
                    </a:lnTo>
                    <a:close/>
                    <a:moveTo>
                      <a:pt x="265" y="265"/>
                    </a:moveTo>
                    <a:lnTo>
                      <a:pt x="265" y="1378"/>
                    </a:lnTo>
                    <a:lnTo>
                      <a:pt x="1293" y="1378"/>
                    </a:lnTo>
                    <a:lnTo>
                      <a:pt x="1293" y="891"/>
                    </a:lnTo>
                    <a:lnTo>
                      <a:pt x="1299" y="855"/>
                    </a:lnTo>
                    <a:lnTo>
                      <a:pt x="1309" y="821"/>
                    </a:lnTo>
                    <a:lnTo>
                      <a:pt x="1329" y="792"/>
                    </a:lnTo>
                    <a:lnTo>
                      <a:pt x="1353" y="767"/>
                    </a:lnTo>
                    <a:lnTo>
                      <a:pt x="1383" y="749"/>
                    </a:lnTo>
                    <a:lnTo>
                      <a:pt x="1416" y="736"/>
                    </a:lnTo>
                    <a:lnTo>
                      <a:pt x="1452" y="732"/>
                    </a:lnTo>
                    <a:lnTo>
                      <a:pt x="2372" y="732"/>
                    </a:lnTo>
                    <a:lnTo>
                      <a:pt x="2372" y="265"/>
                    </a:lnTo>
                    <a:lnTo>
                      <a:pt x="265" y="265"/>
                    </a:lnTo>
                    <a:close/>
                    <a:moveTo>
                      <a:pt x="132" y="0"/>
                    </a:moveTo>
                    <a:lnTo>
                      <a:pt x="2503" y="0"/>
                    </a:lnTo>
                    <a:lnTo>
                      <a:pt x="2540" y="5"/>
                    </a:lnTo>
                    <a:lnTo>
                      <a:pt x="2572" y="18"/>
                    </a:lnTo>
                    <a:lnTo>
                      <a:pt x="2597" y="39"/>
                    </a:lnTo>
                    <a:lnTo>
                      <a:pt x="2619" y="65"/>
                    </a:lnTo>
                    <a:lnTo>
                      <a:pt x="2632" y="97"/>
                    </a:lnTo>
                    <a:lnTo>
                      <a:pt x="2637" y="132"/>
                    </a:lnTo>
                    <a:lnTo>
                      <a:pt x="2637" y="732"/>
                    </a:lnTo>
                    <a:lnTo>
                      <a:pt x="3306" y="732"/>
                    </a:lnTo>
                    <a:lnTo>
                      <a:pt x="3306" y="132"/>
                    </a:lnTo>
                    <a:lnTo>
                      <a:pt x="3311" y="97"/>
                    </a:lnTo>
                    <a:lnTo>
                      <a:pt x="3324" y="65"/>
                    </a:lnTo>
                    <a:lnTo>
                      <a:pt x="3346" y="39"/>
                    </a:lnTo>
                    <a:lnTo>
                      <a:pt x="3373" y="18"/>
                    </a:lnTo>
                    <a:lnTo>
                      <a:pt x="3403" y="5"/>
                    </a:lnTo>
                    <a:lnTo>
                      <a:pt x="3440" y="0"/>
                    </a:lnTo>
                    <a:lnTo>
                      <a:pt x="5811" y="0"/>
                    </a:lnTo>
                    <a:lnTo>
                      <a:pt x="5846" y="5"/>
                    </a:lnTo>
                    <a:lnTo>
                      <a:pt x="5878" y="18"/>
                    </a:lnTo>
                    <a:lnTo>
                      <a:pt x="5905" y="39"/>
                    </a:lnTo>
                    <a:lnTo>
                      <a:pt x="5925" y="65"/>
                    </a:lnTo>
                    <a:lnTo>
                      <a:pt x="5938" y="97"/>
                    </a:lnTo>
                    <a:lnTo>
                      <a:pt x="5943" y="132"/>
                    </a:lnTo>
                    <a:lnTo>
                      <a:pt x="5943" y="1604"/>
                    </a:lnTo>
                    <a:lnTo>
                      <a:pt x="5938" y="1640"/>
                    </a:lnTo>
                    <a:lnTo>
                      <a:pt x="5925" y="1670"/>
                    </a:lnTo>
                    <a:lnTo>
                      <a:pt x="5905" y="1698"/>
                    </a:lnTo>
                    <a:lnTo>
                      <a:pt x="5878" y="1719"/>
                    </a:lnTo>
                    <a:lnTo>
                      <a:pt x="5846" y="1732"/>
                    </a:lnTo>
                    <a:lnTo>
                      <a:pt x="5811" y="1737"/>
                    </a:lnTo>
                    <a:lnTo>
                      <a:pt x="4996" y="1737"/>
                    </a:lnTo>
                    <a:lnTo>
                      <a:pt x="4996" y="1811"/>
                    </a:lnTo>
                    <a:lnTo>
                      <a:pt x="5104" y="1811"/>
                    </a:lnTo>
                    <a:lnTo>
                      <a:pt x="5139" y="1815"/>
                    </a:lnTo>
                    <a:lnTo>
                      <a:pt x="5171" y="1829"/>
                    </a:lnTo>
                    <a:lnTo>
                      <a:pt x="5198" y="1849"/>
                    </a:lnTo>
                    <a:lnTo>
                      <a:pt x="5218" y="1876"/>
                    </a:lnTo>
                    <a:lnTo>
                      <a:pt x="5231" y="1909"/>
                    </a:lnTo>
                    <a:lnTo>
                      <a:pt x="5236" y="1943"/>
                    </a:lnTo>
                    <a:lnTo>
                      <a:pt x="5231" y="1979"/>
                    </a:lnTo>
                    <a:lnTo>
                      <a:pt x="5218" y="2010"/>
                    </a:lnTo>
                    <a:lnTo>
                      <a:pt x="5198" y="2037"/>
                    </a:lnTo>
                    <a:lnTo>
                      <a:pt x="5171" y="2058"/>
                    </a:lnTo>
                    <a:lnTo>
                      <a:pt x="5139" y="2071"/>
                    </a:lnTo>
                    <a:lnTo>
                      <a:pt x="5104" y="2076"/>
                    </a:lnTo>
                    <a:lnTo>
                      <a:pt x="4650" y="2076"/>
                    </a:lnTo>
                    <a:lnTo>
                      <a:pt x="4650" y="2776"/>
                    </a:lnTo>
                    <a:lnTo>
                      <a:pt x="4646" y="2813"/>
                    </a:lnTo>
                    <a:lnTo>
                      <a:pt x="4634" y="2847"/>
                    </a:lnTo>
                    <a:lnTo>
                      <a:pt x="4614" y="2876"/>
                    </a:lnTo>
                    <a:lnTo>
                      <a:pt x="4590" y="2901"/>
                    </a:lnTo>
                    <a:lnTo>
                      <a:pt x="4560" y="2919"/>
                    </a:lnTo>
                    <a:lnTo>
                      <a:pt x="4527" y="2932"/>
                    </a:lnTo>
                    <a:lnTo>
                      <a:pt x="4491" y="2935"/>
                    </a:lnTo>
                    <a:lnTo>
                      <a:pt x="3436" y="2935"/>
                    </a:lnTo>
                    <a:lnTo>
                      <a:pt x="3436" y="3053"/>
                    </a:lnTo>
                    <a:lnTo>
                      <a:pt x="3586" y="3053"/>
                    </a:lnTo>
                    <a:lnTo>
                      <a:pt x="3622" y="3056"/>
                    </a:lnTo>
                    <a:lnTo>
                      <a:pt x="3654" y="3069"/>
                    </a:lnTo>
                    <a:lnTo>
                      <a:pt x="3685" y="3087"/>
                    </a:lnTo>
                    <a:lnTo>
                      <a:pt x="3708" y="3112"/>
                    </a:lnTo>
                    <a:lnTo>
                      <a:pt x="3728" y="3141"/>
                    </a:lnTo>
                    <a:lnTo>
                      <a:pt x="3739" y="3175"/>
                    </a:lnTo>
                    <a:lnTo>
                      <a:pt x="3744" y="3211"/>
                    </a:lnTo>
                    <a:lnTo>
                      <a:pt x="3739" y="3247"/>
                    </a:lnTo>
                    <a:lnTo>
                      <a:pt x="3728" y="3282"/>
                    </a:lnTo>
                    <a:lnTo>
                      <a:pt x="3708" y="3311"/>
                    </a:lnTo>
                    <a:lnTo>
                      <a:pt x="3685" y="3336"/>
                    </a:lnTo>
                    <a:lnTo>
                      <a:pt x="3654" y="3354"/>
                    </a:lnTo>
                    <a:lnTo>
                      <a:pt x="3622" y="3366"/>
                    </a:lnTo>
                    <a:lnTo>
                      <a:pt x="3586" y="3370"/>
                    </a:lnTo>
                    <a:lnTo>
                      <a:pt x="3073" y="3370"/>
                    </a:lnTo>
                    <a:lnTo>
                      <a:pt x="3073" y="3641"/>
                    </a:lnTo>
                    <a:lnTo>
                      <a:pt x="3355" y="3641"/>
                    </a:lnTo>
                    <a:lnTo>
                      <a:pt x="3387" y="3646"/>
                    </a:lnTo>
                    <a:lnTo>
                      <a:pt x="3416" y="3661"/>
                    </a:lnTo>
                    <a:lnTo>
                      <a:pt x="3438" y="3684"/>
                    </a:lnTo>
                    <a:lnTo>
                      <a:pt x="3452" y="3711"/>
                    </a:lnTo>
                    <a:lnTo>
                      <a:pt x="3458" y="3744"/>
                    </a:lnTo>
                    <a:lnTo>
                      <a:pt x="3458" y="3774"/>
                    </a:lnTo>
                    <a:lnTo>
                      <a:pt x="5220" y="3774"/>
                    </a:lnTo>
                    <a:lnTo>
                      <a:pt x="5252" y="3778"/>
                    </a:lnTo>
                    <a:lnTo>
                      <a:pt x="5281" y="3794"/>
                    </a:lnTo>
                    <a:lnTo>
                      <a:pt x="5303" y="3816"/>
                    </a:lnTo>
                    <a:lnTo>
                      <a:pt x="5317" y="3843"/>
                    </a:lnTo>
                    <a:lnTo>
                      <a:pt x="5323" y="3875"/>
                    </a:lnTo>
                    <a:lnTo>
                      <a:pt x="5317" y="3908"/>
                    </a:lnTo>
                    <a:lnTo>
                      <a:pt x="5303" y="3937"/>
                    </a:lnTo>
                    <a:lnTo>
                      <a:pt x="5281" y="3958"/>
                    </a:lnTo>
                    <a:lnTo>
                      <a:pt x="5252" y="3973"/>
                    </a:lnTo>
                    <a:lnTo>
                      <a:pt x="5220" y="3978"/>
                    </a:lnTo>
                    <a:lnTo>
                      <a:pt x="3458" y="3978"/>
                    </a:lnTo>
                    <a:lnTo>
                      <a:pt x="3458" y="4009"/>
                    </a:lnTo>
                    <a:lnTo>
                      <a:pt x="3452" y="4041"/>
                    </a:lnTo>
                    <a:lnTo>
                      <a:pt x="3438" y="4068"/>
                    </a:lnTo>
                    <a:lnTo>
                      <a:pt x="3416" y="4092"/>
                    </a:lnTo>
                    <a:lnTo>
                      <a:pt x="3387" y="4106"/>
                    </a:lnTo>
                    <a:lnTo>
                      <a:pt x="3355" y="4110"/>
                    </a:lnTo>
                    <a:lnTo>
                      <a:pt x="2588" y="4110"/>
                    </a:lnTo>
                    <a:lnTo>
                      <a:pt x="2556" y="4106"/>
                    </a:lnTo>
                    <a:lnTo>
                      <a:pt x="2527" y="4092"/>
                    </a:lnTo>
                    <a:lnTo>
                      <a:pt x="2505" y="4068"/>
                    </a:lnTo>
                    <a:lnTo>
                      <a:pt x="2491" y="4041"/>
                    </a:lnTo>
                    <a:lnTo>
                      <a:pt x="2485" y="4009"/>
                    </a:lnTo>
                    <a:lnTo>
                      <a:pt x="2485" y="3978"/>
                    </a:lnTo>
                    <a:lnTo>
                      <a:pt x="723" y="3978"/>
                    </a:lnTo>
                    <a:lnTo>
                      <a:pt x="691" y="3973"/>
                    </a:lnTo>
                    <a:lnTo>
                      <a:pt x="662" y="3958"/>
                    </a:lnTo>
                    <a:lnTo>
                      <a:pt x="640" y="3937"/>
                    </a:lnTo>
                    <a:lnTo>
                      <a:pt x="626" y="3908"/>
                    </a:lnTo>
                    <a:lnTo>
                      <a:pt x="620" y="3875"/>
                    </a:lnTo>
                    <a:lnTo>
                      <a:pt x="626" y="3843"/>
                    </a:lnTo>
                    <a:lnTo>
                      <a:pt x="640" y="3816"/>
                    </a:lnTo>
                    <a:lnTo>
                      <a:pt x="662" y="3794"/>
                    </a:lnTo>
                    <a:lnTo>
                      <a:pt x="691" y="3778"/>
                    </a:lnTo>
                    <a:lnTo>
                      <a:pt x="723" y="3774"/>
                    </a:lnTo>
                    <a:lnTo>
                      <a:pt x="2485" y="3774"/>
                    </a:lnTo>
                    <a:lnTo>
                      <a:pt x="2485" y="3744"/>
                    </a:lnTo>
                    <a:lnTo>
                      <a:pt x="2491" y="3711"/>
                    </a:lnTo>
                    <a:lnTo>
                      <a:pt x="2505" y="3684"/>
                    </a:lnTo>
                    <a:lnTo>
                      <a:pt x="2527" y="3661"/>
                    </a:lnTo>
                    <a:lnTo>
                      <a:pt x="2556" y="3646"/>
                    </a:lnTo>
                    <a:lnTo>
                      <a:pt x="2588" y="3641"/>
                    </a:lnTo>
                    <a:lnTo>
                      <a:pt x="2870" y="3641"/>
                    </a:lnTo>
                    <a:lnTo>
                      <a:pt x="2870" y="3370"/>
                    </a:lnTo>
                    <a:lnTo>
                      <a:pt x="2357" y="3370"/>
                    </a:lnTo>
                    <a:lnTo>
                      <a:pt x="2321" y="3366"/>
                    </a:lnTo>
                    <a:lnTo>
                      <a:pt x="2289" y="3354"/>
                    </a:lnTo>
                    <a:lnTo>
                      <a:pt x="2258" y="3336"/>
                    </a:lnTo>
                    <a:lnTo>
                      <a:pt x="2235" y="3311"/>
                    </a:lnTo>
                    <a:lnTo>
                      <a:pt x="2215" y="3282"/>
                    </a:lnTo>
                    <a:lnTo>
                      <a:pt x="2204" y="3247"/>
                    </a:lnTo>
                    <a:lnTo>
                      <a:pt x="2199" y="3211"/>
                    </a:lnTo>
                    <a:lnTo>
                      <a:pt x="2204" y="3175"/>
                    </a:lnTo>
                    <a:lnTo>
                      <a:pt x="2215" y="3141"/>
                    </a:lnTo>
                    <a:lnTo>
                      <a:pt x="2235" y="3112"/>
                    </a:lnTo>
                    <a:lnTo>
                      <a:pt x="2258" y="3087"/>
                    </a:lnTo>
                    <a:lnTo>
                      <a:pt x="2289" y="3069"/>
                    </a:lnTo>
                    <a:lnTo>
                      <a:pt x="2321" y="3056"/>
                    </a:lnTo>
                    <a:lnTo>
                      <a:pt x="2357" y="3053"/>
                    </a:lnTo>
                    <a:lnTo>
                      <a:pt x="2507" y="3053"/>
                    </a:lnTo>
                    <a:lnTo>
                      <a:pt x="2507" y="2935"/>
                    </a:lnTo>
                    <a:lnTo>
                      <a:pt x="1452" y="2935"/>
                    </a:lnTo>
                    <a:lnTo>
                      <a:pt x="1416" y="2932"/>
                    </a:lnTo>
                    <a:lnTo>
                      <a:pt x="1383" y="2919"/>
                    </a:lnTo>
                    <a:lnTo>
                      <a:pt x="1353" y="2901"/>
                    </a:lnTo>
                    <a:lnTo>
                      <a:pt x="1329" y="2876"/>
                    </a:lnTo>
                    <a:lnTo>
                      <a:pt x="1309" y="2847"/>
                    </a:lnTo>
                    <a:lnTo>
                      <a:pt x="1299" y="2813"/>
                    </a:lnTo>
                    <a:lnTo>
                      <a:pt x="1293" y="2776"/>
                    </a:lnTo>
                    <a:lnTo>
                      <a:pt x="1293" y="2076"/>
                    </a:lnTo>
                    <a:lnTo>
                      <a:pt x="839" y="2076"/>
                    </a:lnTo>
                    <a:lnTo>
                      <a:pt x="804" y="2071"/>
                    </a:lnTo>
                    <a:lnTo>
                      <a:pt x="772" y="2058"/>
                    </a:lnTo>
                    <a:lnTo>
                      <a:pt x="747" y="2037"/>
                    </a:lnTo>
                    <a:lnTo>
                      <a:pt x="725" y="2010"/>
                    </a:lnTo>
                    <a:lnTo>
                      <a:pt x="712" y="1979"/>
                    </a:lnTo>
                    <a:lnTo>
                      <a:pt x="707" y="1943"/>
                    </a:lnTo>
                    <a:lnTo>
                      <a:pt x="712" y="1909"/>
                    </a:lnTo>
                    <a:lnTo>
                      <a:pt x="725" y="1876"/>
                    </a:lnTo>
                    <a:lnTo>
                      <a:pt x="747" y="1849"/>
                    </a:lnTo>
                    <a:lnTo>
                      <a:pt x="772" y="1829"/>
                    </a:lnTo>
                    <a:lnTo>
                      <a:pt x="804" y="1815"/>
                    </a:lnTo>
                    <a:lnTo>
                      <a:pt x="839" y="1811"/>
                    </a:lnTo>
                    <a:lnTo>
                      <a:pt x="947" y="1811"/>
                    </a:lnTo>
                    <a:lnTo>
                      <a:pt x="947" y="1737"/>
                    </a:lnTo>
                    <a:lnTo>
                      <a:pt x="132" y="1737"/>
                    </a:lnTo>
                    <a:lnTo>
                      <a:pt x="97" y="1732"/>
                    </a:lnTo>
                    <a:lnTo>
                      <a:pt x="65" y="1719"/>
                    </a:lnTo>
                    <a:lnTo>
                      <a:pt x="40" y="1698"/>
                    </a:lnTo>
                    <a:lnTo>
                      <a:pt x="18" y="1670"/>
                    </a:lnTo>
                    <a:lnTo>
                      <a:pt x="5" y="1640"/>
                    </a:lnTo>
                    <a:lnTo>
                      <a:pt x="0" y="1604"/>
                    </a:lnTo>
                    <a:lnTo>
                      <a:pt x="0" y="132"/>
                    </a:lnTo>
                    <a:lnTo>
                      <a:pt x="5" y="97"/>
                    </a:lnTo>
                    <a:lnTo>
                      <a:pt x="18" y="65"/>
                    </a:lnTo>
                    <a:lnTo>
                      <a:pt x="40" y="39"/>
                    </a:lnTo>
                    <a:lnTo>
                      <a:pt x="65" y="18"/>
                    </a:lnTo>
                    <a:lnTo>
                      <a:pt x="97" y="5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0" name="Group 19"/>
              <p:cNvGrpSpPr>
                <a:grpSpLocks noChangeAspect="1"/>
              </p:cNvGrpSpPr>
              <p:nvPr/>
            </p:nvGrpSpPr>
            <p:grpSpPr bwMode="auto">
              <a:xfrm>
                <a:off x="5004281" y="5279778"/>
                <a:ext cx="633500" cy="488492"/>
                <a:chOff x="-1698" y="1247"/>
                <a:chExt cx="2512" cy="1937"/>
              </a:xfrm>
              <a:solidFill>
                <a:schemeClr val="bg1"/>
              </a:solidFill>
            </p:grpSpPr>
            <p:sp>
              <p:nvSpPr>
                <p:cNvPr id="11" name="Freeform 21"/>
                <p:cNvSpPr>
                  <a:spLocks/>
                </p:cNvSpPr>
                <p:nvPr/>
              </p:nvSpPr>
              <p:spPr bwMode="auto">
                <a:xfrm>
                  <a:off x="-1698" y="1629"/>
                  <a:ext cx="2512" cy="1555"/>
                </a:xfrm>
                <a:custGeom>
                  <a:avLst/>
                  <a:gdLst>
                    <a:gd name="T0" fmla="*/ 1567 w 5025"/>
                    <a:gd name="T1" fmla="*/ 0 h 3111"/>
                    <a:gd name="T2" fmla="*/ 687 w 5025"/>
                    <a:gd name="T3" fmla="*/ 329 h 3111"/>
                    <a:gd name="T4" fmla="*/ 4341 w 5025"/>
                    <a:gd name="T5" fmla="*/ 2522 h 3111"/>
                    <a:gd name="T6" fmla="*/ 4130 w 5025"/>
                    <a:gd name="T7" fmla="*/ 329 h 3111"/>
                    <a:gd name="T8" fmla="*/ 4479 w 5025"/>
                    <a:gd name="T9" fmla="*/ 0 h 3111"/>
                    <a:gd name="T10" fmla="*/ 4554 w 5025"/>
                    <a:gd name="T11" fmla="*/ 15 h 3111"/>
                    <a:gd name="T12" fmla="*/ 4614 w 5025"/>
                    <a:gd name="T13" fmla="*/ 55 h 3111"/>
                    <a:gd name="T14" fmla="*/ 4655 w 5025"/>
                    <a:gd name="T15" fmla="*/ 116 h 3111"/>
                    <a:gd name="T16" fmla="*/ 4670 w 5025"/>
                    <a:gd name="T17" fmla="*/ 189 h 3111"/>
                    <a:gd name="T18" fmla="*/ 4939 w 5025"/>
                    <a:gd name="T19" fmla="*/ 2651 h 3111"/>
                    <a:gd name="T20" fmla="*/ 4990 w 5025"/>
                    <a:gd name="T21" fmla="*/ 2668 h 3111"/>
                    <a:gd name="T22" fmla="*/ 5020 w 5025"/>
                    <a:gd name="T23" fmla="*/ 2711 h 3111"/>
                    <a:gd name="T24" fmla="*/ 5022 w 5025"/>
                    <a:gd name="T25" fmla="*/ 2793 h 3111"/>
                    <a:gd name="T26" fmla="*/ 4991 w 5025"/>
                    <a:gd name="T27" fmla="*/ 2894 h 3111"/>
                    <a:gd name="T28" fmla="*/ 4933 w 5025"/>
                    <a:gd name="T29" fmla="*/ 2983 h 3111"/>
                    <a:gd name="T30" fmla="*/ 4855 w 5025"/>
                    <a:gd name="T31" fmla="*/ 3050 h 3111"/>
                    <a:gd name="T32" fmla="*/ 4761 w 5025"/>
                    <a:gd name="T33" fmla="*/ 3094 h 3111"/>
                    <a:gd name="T34" fmla="*/ 4652 w 5025"/>
                    <a:gd name="T35" fmla="*/ 3111 h 3111"/>
                    <a:gd name="T36" fmla="*/ 3969 w 5025"/>
                    <a:gd name="T37" fmla="*/ 2949 h 3111"/>
                    <a:gd name="T38" fmla="*/ 3954 w 5025"/>
                    <a:gd name="T39" fmla="*/ 2897 h 3111"/>
                    <a:gd name="T40" fmla="*/ 3917 w 5025"/>
                    <a:gd name="T41" fmla="*/ 2859 h 3111"/>
                    <a:gd name="T42" fmla="*/ 3866 w 5025"/>
                    <a:gd name="T43" fmla="*/ 2845 h 3111"/>
                    <a:gd name="T44" fmla="*/ 3812 w 5025"/>
                    <a:gd name="T45" fmla="*/ 2859 h 3111"/>
                    <a:gd name="T46" fmla="*/ 3775 w 5025"/>
                    <a:gd name="T47" fmla="*/ 2897 h 3111"/>
                    <a:gd name="T48" fmla="*/ 3762 w 5025"/>
                    <a:gd name="T49" fmla="*/ 2949 h 3111"/>
                    <a:gd name="T50" fmla="*/ 3591 w 5025"/>
                    <a:gd name="T51" fmla="*/ 3111 h 3111"/>
                    <a:gd name="T52" fmla="*/ 3588 w 5025"/>
                    <a:gd name="T53" fmla="*/ 2922 h 3111"/>
                    <a:gd name="T54" fmla="*/ 3560 w 5025"/>
                    <a:gd name="T55" fmla="*/ 2876 h 3111"/>
                    <a:gd name="T56" fmla="*/ 3514 w 5025"/>
                    <a:gd name="T57" fmla="*/ 2850 h 3111"/>
                    <a:gd name="T58" fmla="*/ 3459 w 5025"/>
                    <a:gd name="T59" fmla="*/ 2850 h 3111"/>
                    <a:gd name="T60" fmla="*/ 3413 w 5025"/>
                    <a:gd name="T61" fmla="*/ 2876 h 3111"/>
                    <a:gd name="T62" fmla="*/ 3387 w 5025"/>
                    <a:gd name="T63" fmla="*/ 2922 h 3111"/>
                    <a:gd name="T64" fmla="*/ 3383 w 5025"/>
                    <a:gd name="T65" fmla="*/ 3111 h 3111"/>
                    <a:gd name="T66" fmla="*/ 318 w 5025"/>
                    <a:gd name="T67" fmla="*/ 3106 h 3111"/>
                    <a:gd name="T68" fmla="*/ 215 w 5025"/>
                    <a:gd name="T69" fmla="*/ 3076 h 3111"/>
                    <a:gd name="T70" fmla="*/ 128 w 5025"/>
                    <a:gd name="T71" fmla="*/ 3019 h 3111"/>
                    <a:gd name="T72" fmla="*/ 60 w 5025"/>
                    <a:gd name="T73" fmla="*/ 2940 h 3111"/>
                    <a:gd name="T74" fmla="*/ 15 w 5025"/>
                    <a:gd name="T75" fmla="*/ 2845 h 3111"/>
                    <a:gd name="T76" fmla="*/ 0 w 5025"/>
                    <a:gd name="T77" fmla="*/ 2738 h 3111"/>
                    <a:gd name="T78" fmla="*/ 17 w 5025"/>
                    <a:gd name="T79" fmla="*/ 2687 h 3111"/>
                    <a:gd name="T80" fmla="*/ 60 w 5025"/>
                    <a:gd name="T81" fmla="*/ 2656 h 3111"/>
                    <a:gd name="T82" fmla="*/ 357 w 5025"/>
                    <a:gd name="T83" fmla="*/ 2651 h 3111"/>
                    <a:gd name="T84" fmla="*/ 360 w 5025"/>
                    <a:gd name="T85" fmla="*/ 151 h 3111"/>
                    <a:gd name="T86" fmla="*/ 389 w 5025"/>
                    <a:gd name="T87" fmla="*/ 84 h 3111"/>
                    <a:gd name="T88" fmla="*/ 441 w 5025"/>
                    <a:gd name="T89" fmla="*/ 32 h 3111"/>
                    <a:gd name="T90" fmla="*/ 509 w 5025"/>
                    <a:gd name="T91" fmla="*/ 3 h 3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025" h="3111">
                      <a:moveTo>
                        <a:pt x="547" y="0"/>
                      </a:moveTo>
                      <a:lnTo>
                        <a:pt x="1567" y="0"/>
                      </a:lnTo>
                      <a:lnTo>
                        <a:pt x="1167" y="329"/>
                      </a:lnTo>
                      <a:lnTo>
                        <a:pt x="687" y="329"/>
                      </a:lnTo>
                      <a:lnTo>
                        <a:pt x="687" y="2522"/>
                      </a:lnTo>
                      <a:lnTo>
                        <a:pt x="4341" y="2522"/>
                      </a:lnTo>
                      <a:lnTo>
                        <a:pt x="4341" y="329"/>
                      </a:lnTo>
                      <a:lnTo>
                        <a:pt x="4130" y="329"/>
                      </a:lnTo>
                      <a:lnTo>
                        <a:pt x="4266" y="0"/>
                      </a:lnTo>
                      <a:lnTo>
                        <a:pt x="4479" y="0"/>
                      </a:lnTo>
                      <a:lnTo>
                        <a:pt x="4518" y="3"/>
                      </a:lnTo>
                      <a:lnTo>
                        <a:pt x="4554" y="15"/>
                      </a:lnTo>
                      <a:lnTo>
                        <a:pt x="4586" y="32"/>
                      </a:lnTo>
                      <a:lnTo>
                        <a:pt x="4614" y="55"/>
                      </a:lnTo>
                      <a:lnTo>
                        <a:pt x="4637" y="84"/>
                      </a:lnTo>
                      <a:lnTo>
                        <a:pt x="4655" y="116"/>
                      </a:lnTo>
                      <a:lnTo>
                        <a:pt x="4666" y="151"/>
                      </a:lnTo>
                      <a:lnTo>
                        <a:pt x="4670" y="189"/>
                      </a:lnTo>
                      <a:lnTo>
                        <a:pt x="4670" y="2651"/>
                      </a:lnTo>
                      <a:lnTo>
                        <a:pt x="4939" y="2651"/>
                      </a:lnTo>
                      <a:lnTo>
                        <a:pt x="4965" y="2656"/>
                      </a:lnTo>
                      <a:lnTo>
                        <a:pt x="4990" y="2668"/>
                      </a:lnTo>
                      <a:lnTo>
                        <a:pt x="5008" y="2687"/>
                      </a:lnTo>
                      <a:lnTo>
                        <a:pt x="5020" y="2711"/>
                      </a:lnTo>
                      <a:lnTo>
                        <a:pt x="5025" y="2738"/>
                      </a:lnTo>
                      <a:lnTo>
                        <a:pt x="5022" y="2793"/>
                      </a:lnTo>
                      <a:lnTo>
                        <a:pt x="5009" y="2845"/>
                      </a:lnTo>
                      <a:lnTo>
                        <a:pt x="4991" y="2894"/>
                      </a:lnTo>
                      <a:lnTo>
                        <a:pt x="4965" y="2940"/>
                      </a:lnTo>
                      <a:lnTo>
                        <a:pt x="4933" y="2983"/>
                      </a:lnTo>
                      <a:lnTo>
                        <a:pt x="4896" y="3019"/>
                      </a:lnTo>
                      <a:lnTo>
                        <a:pt x="4855" y="3050"/>
                      </a:lnTo>
                      <a:lnTo>
                        <a:pt x="4809" y="3076"/>
                      </a:lnTo>
                      <a:lnTo>
                        <a:pt x="4761" y="3094"/>
                      </a:lnTo>
                      <a:lnTo>
                        <a:pt x="4707" y="3106"/>
                      </a:lnTo>
                      <a:lnTo>
                        <a:pt x="4652" y="3111"/>
                      </a:lnTo>
                      <a:lnTo>
                        <a:pt x="3969" y="3111"/>
                      </a:lnTo>
                      <a:lnTo>
                        <a:pt x="3969" y="2949"/>
                      </a:lnTo>
                      <a:lnTo>
                        <a:pt x="3965" y="2922"/>
                      </a:lnTo>
                      <a:lnTo>
                        <a:pt x="3954" y="2897"/>
                      </a:lnTo>
                      <a:lnTo>
                        <a:pt x="3939" y="2876"/>
                      </a:lnTo>
                      <a:lnTo>
                        <a:pt x="3917" y="2859"/>
                      </a:lnTo>
                      <a:lnTo>
                        <a:pt x="3893" y="2850"/>
                      </a:lnTo>
                      <a:lnTo>
                        <a:pt x="3866" y="2845"/>
                      </a:lnTo>
                      <a:lnTo>
                        <a:pt x="3838" y="2850"/>
                      </a:lnTo>
                      <a:lnTo>
                        <a:pt x="3812" y="2859"/>
                      </a:lnTo>
                      <a:lnTo>
                        <a:pt x="3792" y="2876"/>
                      </a:lnTo>
                      <a:lnTo>
                        <a:pt x="3775" y="2897"/>
                      </a:lnTo>
                      <a:lnTo>
                        <a:pt x="3765" y="2922"/>
                      </a:lnTo>
                      <a:lnTo>
                        <a:pt x="3762" y="2949"/>
                      </a:lnTo>
                      <a:lnTo>
                        <a:pt x="3762" y="3111"/>
                      </a:lnTo>
                      <a:lnTo>
                        <a:pt x="3591" y="3111"/>
                      </a:lnTo>
                      <a:lnTo>
                        <a:pt x="3591" y="2949"/>
                      </a:lnTo>
                      <a:lnTo>
                        <a:pt x="3588" y="2922"/>
                      </a:lnTo>
                      <a:lnTo>
                        <a:pt x="3577" y="2897"/>
                      </a:lnTo>
                      <a:lnTo>
                        <a:pt x="3560" y="2876"/>
                      </a:lnTo>
                      <a:lnTo>
                        <a:pt x="3540" y="2859"/>
                      </a:lnTo>
                      <a:lnTo>
                        <a:pt x="3514" y="2850"/>
                      </a:lnTo>
                      <a:lnTo>
                        <a:pt x="3487" y="2845"/>
                      </a:lnTo>
                      <a:lnTo>
                        <a:pt x="3459" y="2850"/>
                      </a:lnTo>
                      <a:lnTo>
                        <a:pt x="3435" y="2859"/>
                      </a:lnTo>
                      <a:lnTo>
                        <a:pt x="3413" y="2876"/>
                      </a:lnTo>
                      <a:lnTo>
                        <a:pt x="3398" y="2897"/>
                      </a:lnTo>
                      <a:lnTo>
                        <a:pt x="3387" y="2922"/>
                      </a:lnTo>
                      <a:lnTo>
                        <a:pt x="3383" y="2949"/>
                      </a:lnTo>
                      <a:lnTo>
                        <a:pt x="3383" y="3111"/>
                      </a:lnTo>
                      <a:lnTo>
                        <a:pt x="373" y="3111"/>
                      </a:lnTo>
                      <a:lnTo>
                        <a:pt x="318" y="3106"/>
                      </a:lnTo>
                      <a:lnTo>
                        <a:pt x="266" y="3094"/>
                      </a:lnTo>
                      <a:lnTo>
                        <a:pt x="215" y="3076"/>
                      </a:lnTo>
                      <a:lnTo>
                        <a:pt x="170" y="3050"/>
                      </a:lnTo>
                      <a:lnTo>
                        <a:pt x="128" y="3019"/>
                      </a:lnTo>
                      <a:lnTo>
                        <a:pt x="92" y="2983"/>
                      </a:lnTo>
                      <a:lnTo>
                        <a:pt x="60" y="2940"/>
                      </a:lnTo>
                      <a:lnTo>
                        <a:pt x="35" y="2894"/>
                      </a:lnTo>
                      <a:lnTo>
                        <a:pt x="15" y="2845"/>
                      </a:lnTo>
                      <a:lnTo>
                        <a:pt x="5" y="2793"/>
                      </a:lnTo>
                      <a:lnTo>
                        <a:pt x="0" y="2738"/>
                      </a:lnTo>
                      <a:lnTo>
                        <a:pt x="5" y="2711"/>
                      </a:lnTo>
                      <a:lnTo>
                        <a:pt x="17" y="2687"/>
                      </a:lnTo>
                      <a:lnTo>
                        <a:pt x="35" y="2668"/>
                      </a:lnTo>
                      <a:lnTo>
                        <a:pt x="60" y="2656"/>
                      </a:lnTo>
                      <a:lnTo>
                        <a:pt x="87" y="2651"/>
                      </a:lnTo>
                      <a:lnTo>
                        <a:pt x="357" y="2651"/>
                      </a:lnTo>
                      <a:lnTo>
                        <a:pt x="357" y="189"/>
                      </a:lnTo>
                      <a:lnTo>
                        <a:pt x="360" y="151"/>
                      </a:lnTo>
                      <a:lnTo>
                        <a:pt x="373" y="116"/>
                      </a:lnTo>
                      <a:lnTo>
                        <a:pt x="389" y="84"/>
                      </a:lnTo>
                      <a:lnTo>
                        <a:pt x="412" y="55"/>
                      </a:lnTo>
                      <a:lnTo>
                        <a:pt x="441" y="32"/>
                      </a:lnTo>
                      <a:lnTo>
                        <a:pt x="473" y="15"/>
                      </a:lnTo>
                      <a:lnTo>
                        <a:pt x="509" y="3"/>
                      </a:lnTo>
                      <a:lnTo>
                        <a:pt x="54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" name="Freeform 22"/>
                <p:cNvSpPr>
                  <a:spLocks/>
                </p:cNvSpPr>
                <p:nvPr/>
              </p:nvSpPr>
              <p:spPr bwMode="auto">
                <a:xfrm>
                  <a:off x="-1128" y="1247"/>
                  <a:ext cx="1571" cy="825"/>
                </a:xfrm>
                <a:custGeom>
                  <a:avLst/>
                  <a:gdLst>
                    <a:gd name="T0" fmla="*/ 3101 w 3143"/>
                    <a:gd name="T1" fmla="*/ 0 h 1651"/>
                    <a:gd name="T2" fmla="*/ 3101 w 3143"/>
                    <a:gd name="T3" fmla="*/ 0 h 1651"/>
                    <a:gd name="T4" fmla="*/ 3113 w 3143"/>
                    <a:gd name="T5" fmla="*/ 2 h 1651"/>
                    <a:gd name="T6" fmla="*/ 3124 w 3143"/>
                    <a:gd name="T7" fmla="*/ 6 h 1651"/>
                    <a:gd name="T8" fmla="*/ 3134 w 3143"/>
                    <a:gd name="T9" fmla="*/ 15 h 1651"/>
                    <a:gd name="T10" fmla="*/ 3142 w 3143"/>
                    <a:gd name="T11" fmla="*/ 29 h 1651"/>
                    <a:gd name="T12" fmla="*/ 3143 w 3143"/>
                    <a:gd name="T13" fmla="*/ 44 h 1651"/>
                    <a:gd name="T14" fmla="*/ 3140 w 3143"/>
                    <a:gd name="T15" fmla="*/ 60 h 1651"/>
                    <a:gd name="T16" fmla="*/ 2752 w 3143"/>
                    <a:gd name="T17" fmla="*/ 1001 h 1651"/>
                    <a:gd name="T18" fmla="*/ 2745 w 3143"/>
                    <a:gd name="T19" fmla="*/ 1015 h 1651"/>
                    <a:gd name="T20" fmla="*/ 2733 w 3143"/>
                    <a:gd name="T21" fmla="*/ 1022 h 1651"/>
                    <a:gd name="T22" fmla="*/ 2719 w 3143"/>
                    <a:gd name="T23" fmla="*/ 1029 h 1651"/>
                    <a:gd name="T24" fmla="*/ 2713 w 3143"/>
                    <a:gd name="T25" fmla="*/ 1029 h 1651"/>
                    <a:gd name="T26" fmla="*/ 2701 w 3143"/>
                    <a:gd name="T27" fmla="*/ 1027 h 1651"/>
                    <a:gd name="T28" fmla="*/ 2688 w 3143"/>
                    <a:gd name="T29" fmla="*/ 1021 h 1651"/>
                    <a:gd name="T30" fmla="*/ 2679 w 3143"/>
                    <a:gd name="T31" fmla="*/ 1013 h 1651"/>
                    <a:gd name="T32" fmla="*/ 2484 w 3143"/>
                    <a:gd name="T33" fmla="*/ 775 h 1651"/>
                    <a:gd name="T34" fmla="*/ 1271 w 3143"/>
                    <a:gd name="T35" fmla="*/ 1596 h 1651"/>
                    <a:gd name="T36" fmla="*/ 1189 w 3143"/>
                    <a:gd name="T37" fmla="*/ 1651 h 1651"/>
                    <a:gd name="T38" fmla="*/ 1134 w 3143"/>
                    <a:gd name="T39" fmla="*/ 1584 h 1651"/>
                    <a:gd name="T40" fmla="*/ 677 w 3143"/>
                    <a:gd name="T41" fmla="*/ 1033 h 1651"/>
                    <a:gd name="T42" fmla="*/ 40 w 3143"/>
                    <a:gd name="T43" fmla="*/ 1492 h 1651"/>
                    <a:gd name="T44" fmla="*/ 37 w 3143"/>
                    <a:gd name="T45" fmla="*/ 1488 h 1651"/>
                    <a:gd name="T46" fmla="*/ 29 w 3143"/>
                    <a:gd name="T47" fmla="*/ 1480 h 1651"/>
                    <a:gd name="T48" fmla="*/ 20 w 3143"/>
                    <a:gd name="T49" fmla="*/ 1471 h 1651"/>
                    <a:gd name="T50" fmla="*/ 11 w 3143"/>
                    <a:gd name="T51" fmla="*/ 1460 h 1651"/>
                    <a:gd name="T52" fmla="*/ 5 w 3143"/>
                    <a:gd name="T53" fmla="*/ 1453 h 1651"/>
                    <a:gd name="T54" fmla="*/ 0 w 3143"/>
                    <a:gd name="T55" fmla="*/ 1448 h 1651"/>
                    <a:gd name="T56" fmla="*/ 652 w 3143"/>
                    <a:gd name="T57" fmla="*/ 911 h 1651"/>
                    <a:gd name="T58" fmla="*/ 689 w 3143"/>
                    <a:gd name="T59" fmla="*/ 879 h 1651"/>
                    <a:gd name="T60" fmla="*/ 729 w 3143"/>
                    <a:gd name="T61" fmla="*/ 917 h 1651"/>
                    <a:gd name="T62" fmla="*/ 1211 w 3143"/>
                    <a:gd name="T63" fmla="*/ 1379 h 1651"/>
                    <a:gd name="T64" fmla="*/ 2245 w 3143"/>
                    <a:gd name="T65" fmla="*/ 488 h 1651"/>
                    <a:gd name="T66" fmla="*/ 2067 w 3143"/>
                    <a:gd name="T67" fmla="*/ 273 h 1651"/>
                    <a:gd name="T68" fmla="*/ 2061 w 3143"/>
                    <a:gd name="T69" fmla="*/ 260 h 1651"/>
                    <a:gd name="T70" fmla="*/ 2058 w 3143"/>
                    <a:gd name="T71" fmla="*/ 246 h 1651"/>
                    <a:gd name="T72" fmla="*/ 2061 w 3143"/>
                    <a:gd name="T73" fmla="*/ 231 h 1651"/>
                    <a:gd name="T74" fmla="*/ 2067 w 3143"/>
                    <a:gd name="T75" fmla="*/ 218 h 1651"/>
                    <a:gd name="T76" fmla="*/ 2079 w 3143"/>
                    <a:gd name="T77" fmla="*/ 208 h 1651"/>
                    <a:gd name="T78" fmla="*/ 2093 w 3143"/>
                    <a:gd name="T79" fmla="*/ 203 h 1651"/>
                    <a:gd name="T80" fmla="*/ 3092 w 3143"/>
                    <a:gd name="T81" fmla="*/ 0 h 1651"/>
                    <a:gd name="T82" fmla="*/ 3101 w 3143"/>
                    <a:gd name="T83" fmla="*/ 0 h 16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143" h="1651">
                      <a:moveTo>
                        <a:pt x="3101" y="0"/>
                      </a:moveTo>
                      <a:lnTo>
                        <a:pt x="3101" y="0"/>
                      </a:lnTo>
                      <a:lnTo>
                        <a:pt x="3113" y="2"/>
                      </a:lnTo>
                      <a:lnTo>
                        <a:pt x="3124" y="6"/>
                      </a:lnTo>
                      <a:lnTo>
                        <a:pt x="3134" y="15"/>
                      </a:lnTo>
                      <a:lnTo>
                        <a:pt x="3142" y="29"/>
                      </a:lnTo>
                      <a:lnTo>
                        <a:pt x="3143" y="44"/>
                      </a:lnTo>
                      <a:lnTo>
                        <a:pt x="3140" y="60"/>
                      </a:lnTo>
                      <a:lnTo>
                        <a:pt x="2752" y="1001"/>
                      </a:lnTo>
                      <a:lnTo>
                        <a:pt x="2745" y="1015"/>
                      </a:lnTo>
                      <a:lnTo>
                        <a:pt x="2733" y="1022"/>
                      </a:lnTo>
                      <a:lnTo>
                        <a:pt x="2719" y="1029"/>
                      </a:lnTo>
                      <a:lnTo>
                        <a:pt x="2713" y="1029"/>
                      </a:lnTo>
                      <a:lnTo>
                        <a:pt x="2701" y="1027"/>
                      </a:lnTo>
                      <a:lnTo>
                        <a:pt x="2688" y="1021"/>
                      </a:lnTo>
                      <a:lnTo>
                        <a:pt x="2679" y="1013"/>
                      </a:lnTo>
                      <a:lnTo>
                        <a:pt x="2484" y="775"/>
                      </a:lnTo>
                      <a:lnTo>
                        <a:pt x="1271" y="1596"/>
                      </a:lnTo>
                      <a:lnTo>
                        <a:pt x="1189" y="1651"/>
                      </a:lnTo>
                      <a:lnTo>
                        <a:pt x="1134" y="1584"/>
                      </a:lnTo>
                      <a:lnTo>
                        <a:pt x="677" y="1033"/>
                      </a:lnTo>
                      <a:lnTo>
                        <a:pt x="40" y="1492"/>
                      </a:lnTo>
                      <a:lnTo>
                        <a:pt x="37" y="1488"/>
                      </a:lnTo>
                      <a:lnTo>
                        <a:pt x="29" y="1480"/>
                      </a:lnTo>
                      <a:lnTo>
                        <a:pt x="20" y="1471"/>
                      </a:lnTo>
                      <a:lnTo>
                        <a:pt x="11" y="1460"/>
                      </a:lnTo>
                      <a:lnTo>
                        <a:pt x="5" y="1453"/>
                      </a:lnTo>
                      <a:lnTo>
                        <a:pt x="0" y="1448"/>
                      </a:lnTo>
                      <a:lnTo>
                        <a:pt x="652" y="911"/>
                      </a:lnTo>
                      <a:lnTo>
                        <a:pt x="689" y="879"/>
                      </a:lnTo>
                      <a:lnTo>
                        <a:pt x="729" y="917"/>
                      </a:lnTo>
                      <a:lnTo>
                        <a:pt x="1211" y="1379"/>
                      </a:lnTo>
                      <a:lnTo>
                        <a:pt x="2245" y="488"/>
                      </a:lnTo>
                      <a:lnTo>
                        <a:pt x="2067" y="273"/>
                      </a:lnTo>
                      <a:lnTo>
                        <a:pt x="2061" y="260"/>
                      </a:lnTo>
                      <a:lnTo>
                        <a:pt x="2058" y="246"/>
                      </a:lnTo>
                      <a:lnTo>
                        <a:pt x="2061" y="231"/>
                      </a:lnTo>
                      <a:lnTo>
                        <a:pt x="2067" y="218"/>
                      </a:lnTo>
                      <a:lnTo>
                        <a:pt x="2079" y="208"/>
                      </a:lnTo>
                      <a:lnTo>
                        <a:pt x="2093" y="203"/>
                      </a:lnTo>
                      <a:lnTo>
                        <a:pt x="3092" y="0"/>
                      </a:lnTo>
                      <a:lnTo>
                        <a:pt x="310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" name="Freeform 23"/>
                <p:cNvSpPr>
                  <a:spLocks/>
                </p:cNvSpPr>
                <p:nvPr/>
              </p:nvSpPr>
              <p:spPr bwMode="auto">
                <a:xfrm>
                  <a:off x="-394" y="2507"/>
                  <a:ext cx="102" cy="270"/>
                </a:xfrm>
                <a:custGeom>
                  <a:avLst/>
                  <a:gdLst>
                    <a:gd name="T0" fmla="*/ 102 w 205"/>
                    <a:gd name="T1" fmla="*/ 0 h 540"/>
                    <a:gd name="T2" fmla="*/ 128 w 205"/>
                    <a:gd name="T3" fmla="*/ 3 h 540"/>
                    <a:gd name="T4" fmla="*/ 153 w 205"/>
                    <a:gd name="T5" fmla="*/ 14 h 540"/>
                    <a:gd name="T6" fmla="*/ 174 w 205"/>
                    <a:gd name="T7" fmla="*/ 29 h 540"/>
                    <a:gd name="T8" fmla="*/ 191 w 205"/>
                    <a:gd name="T9" fmla="*/ 50 h 540"/>
                    <a:gd name="T10" fmla="*/ 200 w 205"/>
                    <a:gd name="T11" fmla="*/ 75 h 540"/>
                    <a:gd name="T12" fmla="*/ 205 w 205"/>
                    <a:gd name="T13" fmla="*/ 102 h 540"/>
                    <a:gd name="T14" fmla="*/ 205 w 205"/>
                    <a:gd name="T15" fmla="*/ 438 h 540"/>
                    <a:gd name="T16" fmla="*/ 200 w 205"/>
                    <a:gd name="T17" fmla="*/ 465 h 540"/>
                    <a:gd name="T18" fmla="*/ 191 w 205"/>
                    <a:gd name="T19" fmla="*/ 490 h 540"/>
                    <a:gd name="T20" fmla="*/ 174 w 205"/>
                    <a:gd name="T21" fmla="*/ 511 h 540"/>
                    <a:gd name="T22" fmla="*/ 153 w 205"/>
                    <a:gd name="T23" fmla="*/ 526 h 540"/>
                    <a:gd name="T24" fmla="*/ 128 w 205"/>
                    <a:gd name="T25" fmla="*/ 537 h 540"/>
                    <a:gd name="T26" fmla="*/ 102 w 205"/>
                    <a:gd name="T27" fmla="*/ 540 h 540"/>
                    <a:gd name="T28" fmla="*/ 75 w 205"/>
                    <a:gd name="T29" fmla="*/ 537 h 540"/>
                    <a:gd name="T30" fmla="*/ 50 w 205"/>
                    <a:gd name="T31" fmla="*/ 526 h 540"/>
                    <a:gd name="T32" fmla="*/ 29 w 205"/>
                    <a:gd name="T33" fmla="*/ 511 h 540"/>
                    <a:gd name="T34" fmla="*/ 14 w 205"/>
                    <a:gd name="T35" fmla="*/ 490 h 540"/>
                    <a:gd name="T36" fmla="*/ 3 w 205"/>
                    <a:gd name="T37" fmla="*/ 465 h 540"/>
                    <a:gd name="T38" fmla="*/ 0 w 205"/>
                    <a:gd name="T39" fmla="*/ 438 h 540"/>
                    <a:gd name="T40" fmla="*/ 0 w 205"/>
                    <a:gd name="T41" fmla="*/ 102 h 540"/>
                    <a:gd name="T42" fmla="*/ 3 w 205"/>
                    <a:gd name="T43" fmla="*/ 75 h 540"/>
                    <a:gd name="T44" fmla="*/ 14 w 205"/>
                    <a:gd name="T45" fmla="*/ 50 h 540"/>
                    <a:gd name="T46" fmla="*/ 29 w 205"/>
                    <a:gd name="T47" fmla="*/ 29 h 540"/>
                    <a:gd name="T48" fmla="*/ 50 w 205"/>
                    <a:gd name="T49" fmla="*/ 14 h 540"/>
                    <a:gd name="T50" fmla="*/ 75 w 205"/>
                    <a:gd name="T51" fmla="*/ 3 h 540"/>
                    <a:gd name="T52" fmla="*/ 102 w 205"/>
                    <a:gd name="T53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540">
                      <a:moveTo>
                        <a:pt x="102" y="0"/>
                      </a:moveTo>
                      <a:lnTo>
                        <a:pt x="128" y="3"/>
                      </a:lnTo>
                      <a:lnTo>
                        <a:pt x="153" y="14"/>
                      </a:lnTo>
                      <a:lnTo>
                        <a:pt x="174" y="29"/>
                      </a:lnTo>
                      <a:lnTo>
                        <a:pt x="191" y="50"/>
                      </a:lnTo>
                      <a:lnTo>
                        <a:pt x="200" y="75"/>
                      </a:lnTo>
                      <a:lnTo>
                        <a:pt x="205" y="102"/>
                      </a:lnTo>
                      <a:lnTo>
                        <a:pt x="205" y="438"/>
                      </a:lnTo>
                      <a:lnTo>
                        <a:pt x="200" y="465"/>
                      </a:lnTo>
                      <a:lnTo>
                        <a:pt x="191" y="490"/>
                      </a:lnTo>
                      <a:lnTo>
                        <a:pt x="174" y="511"/>
                      </a:lnTo>
                      <a:lnTo>
                        <a:pt x="153" y="526"/>
                      </a:lnTo>
                      <a:lnTo>
                        <a:pt x="128" y="537"/>
                      </a:lnTo>
                      <a:lnTo>
                        <a:pt x="102" y="540"/>
                      </a:lnTo>
                      <a:lnTo>
                        <a:pt x="75" y="537"/>
                      </a:lnTo>
                      <a:lnTo>
                        <a:pt x="50" y="526"/>
                      </a:lnTo>
                      <a:lnTo>
                        <a:pt x="29" y="511"/>
                      </a:lnTo>
                      <a:lnTo>
                        <a:pt x="14" y="490"/>
                      </a:lnTo>
                      <a:lnTo>
                        <a:pt x="3" y="465"/>
                      </a:lnTo>
                      <a:lnTo>
                        <a:pt x="0" y="438"/>
                      </a:lnTo>
                      <a:lnTo>
                        <a:pt x="0" y="102"/>
                      </a:lnTo>
                      <a:lnTo>
                        <a:pt x="3" y="75"/>
                      </a:lnTo>
                      <a:lnTo>
                        <a:pt x="14" y="50"/>
                      </a:lnTo>
                      <a:lnTo>
                        <a:pt x="29" y="29"/>
                      </a:lnTo>
                      <a:lnTo>
                        <a:pt x="50" y="14"/>
                      </a:lnTo>
                      <a:lnTo>
                        <a:pt x="75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24"/>
                <p:cNvSpPr>
                  <a:spLocks/>
                </p:cNvSpPr>
                <p:nvPr/>
              </p:nvSpPr>
              <p:spPr bwMode="auto">
                <a:xfrm>
                  <a:off x="-587" y="2296"/>
                  <a:ext cx="102" cy="481"/>
                </a:xfrm>
                <a:custGeom>
                  <a:avLst/>
                  <a:gdLst>
                    <a:gd name="T0" fmla="*/ 103 w 205"/>
                    <a:gd name="T1" fmla="*/ 0 h 963"/>
                    <a:gd name="T2" fmla="*/ 130 w 205"/>
                    <a:gd name="T3" fmla="*/ 3 h 963"/>
                    <a:gd name="T4" fmla="*/ 154 w 205"/>
                    <a:gd name="T5" fmla="*/ 14 h 963"/>
                    <a:gd name="T6" fmla="*/ 176 w 205"/>
                    <a:gd name="T7" fmla="*/ 31 h 963"/>
                    <a:gd name="T8" fmla="*/ 191 w 205"/>
                    <a:gd name="T9" fmla="*/ 51 h 963"/>
                    <a:gd name="T10" fmla="*/ 202 w 205"/>
                    <a:gd name="T11" fmla="*/ 75 h 963"/>
                    <a:gd name="T12" fmla="*/ 205 w 205"/>
                    <a:gd name="T13" fmla="*/ 102 h 963"/>
                    <a:gd name="T14" fmla="*/ 205 w 205"/>
                    <a:gd name="T15" fmla="*/ 861 h 963"/>
                    <a:gd name="T16" fmla="*/ 202 w 205"/>
                    <a:gd name="T17" fmla="*/ 888 h 963"/>
                    <a:gd name="T18" fmla="*/ 191 w 205"/>
                    <a:gd name="T19" fmla="*/ 913 h 963"/>
                    <a:gd name="T20" fmla="*/ 176 w 205"/>
                    <a:gd name="T21" fmla="*/ 934 h 963"/>
                    <a:gd name="T22" fmla="*/ 154 w 205"/>
                    <a:gd name="T23" fmla="*/ 949 h 963"/>
                    <a:gd name="T24" fmla="*/ 130 w 205"/>
                    <a:gd name="T25" fmla="*/ 960 h 963"/>
                    <a:gd name="T26" fmla="*/ 103 w 205"/>
                    <a:gd name="T27" fmla="*/ 963 h 963"/>
                    <a:gd name="T28" fmla="*/ 75 w 205"/>
                    <a:gd name="T29" fmla="*/ 960 h 963"/>
                    <a:gd name="T30" fmla="*/ 51 w 205"/>
                    <a:gd name="T31" fmla="*/ 949 h 963"/>
                    <a:gd name="T32" fmla="*/ 31 w 205"/>
                    <a:gd name="T33" fmla="*/ 934 h 963"/>
                    <a:gd name="T34" fmla="*/ 14 w 205"/>
                    <a:gd name="T35" fmla="*/ 913 h 963"/>
                    <a:gd name="T36" fmla="*/ 5 w 205"/>
                    <a:gd name="T37" fmla="*/ 888 h 963"/>
                    <a:gd name="T38" fmla="*/ 0 w 205"/>
                    <a:gd name="T39" fmla="*/ 861 h 963"/>
                    <a:gd name="T40" fmla="*/ 0 w 205"/>
                    <a:gd name="T41" fmla="*/ 102 h 963"/>
                    <a:gd name="T42" fmla="*/ 5 w 205"/>
                    <a:gd name="T43" fmla="*/ 75 h 963"/>
                    <a:gd name="T44" fmla="*/ 14 w 205"/>
                    <a:gd name="T45" fmla="*/ 51 h 963"/>
                    <a:gd name="T46" fmla="*/ 31 w 205"/>
                    <a:gd name="T47" fmla="*/ 31 h 963"/>
                    <a:gd name="T48" fmla="*/ 51 w 205"/>
                    <a:gd name="T49" fmla="*/ 14 h 963"/>
                    <a:gd name="T50" fmla="*/ 75 w 205"/>
                    <a:gd name="T51" fmla="*/ 3 h 963"/>
                    <a:gd name="T52" fmla="*/ 103 w 205"/>
                    <a:gd name="T53" fmla="*/ 0 h 9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963">
                      <a:moveTo>
                        <a:pt x="103" y="0"/>
                      </a:moveTo>
                      <a:lnTo>
                        <a:pt x="130" y="3"/>
                      </a:lnTo>
                      <a:lnTo>
                        <a:pt x="154" y="14"/>
                      </a:lnTo>
                      <a:lnTo>
                        <a:pt x="176" y="31"/>
                      </a:lnTo>
                      <a:lnTo>
                        <a:pt x="191" y="51"/>
                      </a:lnTo>
                      <a:lnTo>
                        <a:pt x="202" y="75"/>
                      </a:lnTo>
                      <a:lnTo>
                        <a:pt x="205" y="102"/>
                      </a:lnTo>
                      <a:lnTo>
                        <a:pt x="205" y="861"/>
                      </a:lnTo>
                      <a:lnTo>
                        <a:pt x="202" y="888"/>
                      </a:lnTo>
                      <a:lnTo>
                        <a:pt x="191" y="913"/>
                      </a:lnTo>
                      <a:lnTo>
                        <a:pt x="176" y="934"/>
                      </a:lnTo>
                      <a:lnTo>
                        <a:pt x="154" y="949"/>
                      </a:lnTo>
                      <a:lnTo>
                        <a:pt x="130" y="960"/>
                      </a:lnTo>
                      <a:lnTo>
                        <a:pt x="103" y="963"/>
                      </a:lnTo>
                      <a:lnTo>
                        <a:pt x="75" y="960"/>
                      </a:lnTo>
                      <a:lnTo>
                        <a:pt x="51" y="949"/>
                      </a:lnTo>
                      <a:lnTo>
                        <a:pt x="31" y="934"/>
                      </a:lnTo>
                      <a:lnTo>
                        <a:pt x="14" y="913"/>
                      </a:lnTo>
                      <a:lnTo>
                        <a:pt x="5" y="888"/>
                      </a:lnTo>
                      <a:lnTo>
                        <a:pt x="0" y="861"/>
                      </a:lnTo>
                      <a:lnTo>
                        <a:pt x="0" y="102"/>
                      </a:lnTo>
                      <a:lnTo>
                        <a:pt x="5" y="75"/>
                      </a:lnTo>
                      <a:lnTo>
                        <a:pt x="14" y="51"/>
                      </a:lnTo>
                      <a:lnTo>
                        <a:pt x="31" y="31"/>
                      </a:lnTo>
                      <a:lnTo>
                        <a:pt x="51" y="14"/>
                      </a:lnTo>
                      <a:lnTo>
                        <a:pt x="75" y="3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" name="Freeform 25"/>
                <p:cNvSpPr>
                  <a:spLocks/>
                </p:cNvSpPr>
                <p:nvPr/>
              </p:nvSpPr>
              <p:spPr bwMode="auto">
                <a:xfrm>
                  <a:off x="-779" y="2507"/>
                  <a:ext cx="103" cy="270"/>
                </a:xfrm>
                <a:custGeom>
                  <a:avLst/>
                  <a:gdLst>
                    <a:gd name="T0" fmla="*/ 102 w 204"/>
                    <a:gd name="T1" fmla="*/ 0 h 540"/>
                    <a:gd name="T2" fmla="*/ 130 w 204"/>
                    <a:gd name="T3" fmla="*/ 3 h 540"/>
                    <a:gd name="T4" fmla="*/ 154 w 204"/>
                    <a:gd name="T5" fmla="*/ 14 h 540"/>
                    <a:gd name="T6" fmla="*/ 174 w 204"/>
                    <a:gd name="T7" fmla="*/ 29 h 540"/>
                    <a:gd name="T8" fmla="*/ 191 w 204"/>
                    <a:gd name="T9" fmla="*/ 50 h 540"/>
                    <a:gd name="T10" fmla="*/ 200 w 204"/>
                    <a:gd name="T11" fmla="*/ 75 h 540"/>
                    <a:gd name="T12" fmla="*/ 204 w 204"/>
                    <a:gd name="T13" fmla="*/ 102 h 540"/>
                    <a:gd name="T14" fmla="*/ 204 w 204"/>
                    <a:gd name="T15" fmla="*/ 438 h 540"/>
                    <a:gd name="T16" fmla="*/ 200 w 204"/>
                    <a:gd name="T17" fmla="*/ 465 h 540"/>
                    <a:gd name="T18" fmla="*/ 191 w 204"/>
                    <a:gd name="T19" fmla="*/ 490 h 540"/>
                    <a:gd name="T20" fmla="*/ 174 w 204"/>
                    <a:gd name="T21" fmla="*/ 511 h 540"/>
                    <a:gd name="T22" fmla="*/ 154 w 204"/>
                    <a:gd name="T23" fmla="*/ 526 h 540"/>
                    <a:gd name="T24" fmla="*/ 130 w 204"/>
                    <a:gd name="T25" fmla="*/ 537 h 540"/>
                    <a:gd name="T26" fmla="*/ 102 w 204"/>
                    <a:gd name="T27" fmla="*/ 540 h 540"/>
                    <a:gd name="T28" fmla="*/ 75 w 204"/>
                    <a:gd name="T29" fmla="*/ 537 h 540"/>
                    <a:gd name="T30" fmla="*/ 50 w 204"/>
                    <a:gd name="T31" fmla="*/ 526 h 540"/>
                    <a:gd name="T32" fmla="*/ 29 w 204"/>
                    <a:gd name="T33" fmla="*/ 511 h 540"/>
                    <a:gd name="T34" fmla="*/ 14 w 204"/>
                    <a:gd name="T35" fmla="*/ 490 h 540"/>
                    <a:gd name="T36" fmla="*/ 3 w 204"/>
                    <a:gd name="T37" fmla="*/ 465 h 540"/>
                    <a:gd name="T38" fmla="*/ 0 w 204"/>
                    <a:gd name="T39" fmla="*/ 438 h 540"/>
                    <a:gd name="T40" fmla="*/ 0 w 204"/>
                    <a:gd name="T41" fmla="*/ 102 h 540"/>
                    <a:gd name="T42" fmla="*/ 3 w 204"/>
                    <a:gd name="T43" fmla="*/ 75 h 540"/>
                    <a:gd name="T44" fmla="*/ 14 w 204"/>
                    <a:gd name="T45" fmla="*/ 50 h 540"/>
                    <a:gd name="T46" fmla="*/ 29 w 204"/>
                    <a:gd name="T47" fmla="*/ 29 h 540"/>
                    <a:gd name="T48" fmla="*/ 50 w 204"/>
                    <a:gd name="T49" fmla="*/ 14 h 540"/>
                    <a:gd name="T50" fmla="*/ 75 w 204"/>
                    <a:gd name="T51" fmla="*/ 3 h 540"/>
                    <a:gd name="T52" fmla="*/ 102 w 204"/>
                    <a:gd name="T53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4" h="540">
                      <a:moveTo>
                        <a:pt x="102" y="0"/>
                      </a:moveTo>
                      <a:lnTo>
                        <a:pt x="130" y="3"/>
                      </a:lnTo>
                      <a:lnTo>
                        <a:pt x="154" y="14"/>
                      </a:lnTo>
                      <a:lnTo>
                        <a:pt x="174" y="29"/>
                      </a:lnTo>
                      <a:lnTo>
                        <a:pt x="191" y="50"/>
                      </a:lnTo>
                      <a:lnTo>
                        <a:pt x="200" y="75"/>
                      </a:lnTo>
                      <a:lnTo>
                        <a:pt x="204" y="102"/>
                      </a:lnTo>
                      <a:lnTo>
                        <a:pt x="204" y="438"/>
                      </a:lnTo>
                      <a:lnTo>
                        <a:pt x="200" y="465"/>
                      </a:lnTo>
                      <a:lnTo>
                        <a:pt x="191" y="490"/>
                      </a:lnTo>
                      <a:lnTo>
                        <a:pt x="174" y="511"/>
                      </a:lnTo>
                      <a:lnTo>
                        <a:pt x="154" y="526"/>
                      </a:lnTo>
                      <a:lnTo>
                        <a:pt x="130" y="537"/>
                      </a:lnTo>
                      <a:lnTo>
                        <a:pt x="102" y="540"/>
                      </a:lnTo>
                      <a:lnTo>
                        <a:pt x="75" y="537"/>
                      </a:lnTo>
                      <a:lnTo>
                        <a:pt x="50" y="526"/>
                      </a:lnTo>
                      <a:lnTo>
                        <a:pt x="29" y="511"/>
                      </a:lnTo>
                      <a:lnTo>
                        <a:pt x="14" y="490"/>
                      </a:lnTo>
                      <a:lnTo>
                        <a:pt x="3" y="465"/>
                      </a:lnTo>
                      <a:lnTo>
                        <a:pt x="0" y="438"/>
                      </a:lnTo>
                      <a:lnTo>
                        <a:pt x="0" y="102"/>
                      </a:lnTo>
                      <a:lnTo>
                        <a:pt x="3" y="75"/>
                      </a:lnTo>
                      <a:lnTo>
                        <a:pt x="14" y="50"/>
                      </a:lnTo>
                      <a:lnTo>
                        <a:pt x="29" y="29"/>
                      </a:lnTo>
                      <a:lnTo>
                        <a:pt x="50" y="14"/>
                      </a:lnTo>
                      <a:lnTo>
                        <a:pt x="75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" name="Freeform 26"/>
                <p:cNvSpPr>
                  <a:spLocks/>
                </p:cNvSpPr>
                <p:nvPr/>
              </p:nvSpPr>
              <p:spPr bwMode="auto">
                <a:xfrm>
                  <a:off x="-971" y="2296"/>
                  <a:ext cx="102" cy="481"/>
                </a:xfrm>
                <a:custGeom>
                  <a:avLst/>
                  <a:gdLst>
                    <a:gd name="T0" fmla="*/ 102 w 205"/>
                    <a:gd name="T1" fmla="*/ 0 h 963"/>
                    <a:gd name="T2" fmla="*/ 130 w 205"/>
                    <a:gd name="T3" fmla="*/ 3 h 963"/>
                    <a:gd name="T4" fmla="*/ 154 w 205"/>
                    <a:gd name="T5" fmla="*/ 14 h 963"/>
                    <a:gd name="T6" fmla="*/ 176 w 205"/>
                    <a:gd name="T7" fmla="*/ 31 h 963"/>
                    <a:gd name="T8" fmla="*/ 191 w 205"/>
                    <a:gd name="T9" fmla="*/ 51 h 963"/>
                    <a:gd name="T10" fmla="*/ 202 w 205"/>
                    <a:gd name="T11" fmla="*/ 75 h 963"/>
                    <a:gd name="T12" fmla="*/ 205 w 205"/>
                    <a:gd name="T13" fmla="*/ 102 h 963"/>
                    <a:gd name="T14" fmla="*/ 205 w 205"/>
                    <a:gd name="T15" fmla="*/ 861 h 963"/>
                    <a:gd name="T16" fmla="*/ 202 w 205"/>
                    <a:gd name="T17" fmla="*/ 888 h 963"/>
                    <a:gd name="T18" fmla="*/ 191 w 205"/>
                    <a:gd name="T19" fmla="*/ 913 h 963"/>
                    <a:gd name="T20" fmla="*/ 176 w 205"/>
                    <a:gd name="T21" fmla="*/ 934 h 963"/>
                    <a:gd name="T22" fmla="*/ 154 w 205"/>
                    <a:gd name="T23" fmla="*/ 949 h 963"/>
                    <a:gd name="T24" fmla="*/ 130 w 205"/>
                    <a:gd name="T25" fmla="*/ 960 h 963"/>
                    <a:gd name="T26" fmla="*/ 102 w 205"/>
                    <a:gd name="T27" fmla="*/ 963 h 963"/>
                    <a:gd name="T28" fmla="*/ 76 w 205"/>
                    <a:gd name="T29" fmla="*/ 960 h 963"/>
                    <a:gd name="T30" fmla="*/ 50 w 205"/>
                    <a:gd name="T31" fmla="*/ 949 h 963"/>
                    <a:gd name="T32" fmla="*/ 31 w 205"/>
                    <a:gd name="T33" fmla="*/ 934 h 963"/>
                    <a:gd name="T34" fmla="*/ 14 w 205"/>
                    <a:gd name="T35" fmla="*/ 913 h 963"/>
                    <a:gd name="T36" fmla="*/ 5 w 205"/>
                    <a:gd name="T37" fmla="*/ 888 h 963"/>
                    <a:gd name="T38" fmla="*/ 0 w 205"/>
                    <a:gd name="T39" fmla="*/ 861 h 963"/>
                    <a:gd name="T40" fmla="*/ 0 w 205"/>
                    <a:gd name="T41" fmla="*/ 102 h 963"/>
                    <a:gd name="T42" fmla="*/ 5 w 205"/>
                    <a:gd name="T43" fmla="*/ 75 h 963"/>
                    <a:gd name="T44" fmla="*/ 14 w 205"/>
                    <a:gd name="T45" fmla="*/ 51 h 963"/>
                    <a:gd name="T46" fmla="*/ 31 w 205"/>
                    <a:gd name="T47" fmla="*/ 31 h 963"/>
                    <a:gd name="T48" fmla="*/ 50 w 205"/>
                    <a:gd name="T49" fmla="*/ 14 h 963"/>
                    <a:gd name="T50" fmla="*/ 76 w 205"/>
                    <a:gd name="T51" fmla="*/ 3 h 963"/>
                    <a:gd name="T52" fmla="*/ 102 w 205"/>
                    <a:gd name="T53" fmla="*/ 0 h 9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963">
                      <a:moveTo>
                        <a:pt x="102" y="0"/>
                      </a:moveTo>
                      <a:lnTo>
                        <a:pt x="130" y="3"/>
                      </a:lnTo>
                      <a:lnTo>
                        <a:pt x="154" y="14"/>
                      </a:lnTo>
                      <a:lnTo>
                        <a:pt x="176" y="31"/>
                      </a:lnTo>
                      <a:lnTo>
                        <a:pt x="191" y="51"/>
                      </a:lnTo>
                      <a:lnTo>
                        <a:pt x="202" y="75"/>
                      </a:lnTo>
                      <a:lnTo>
                        <a:pt x="205" y="102"/>
                      </a:lnTo>
                      <a:lnTo>
                        <a:pt x="205" y="861"/>
                      </a:lnTo>
                      <a:lnTo>
                        <a:pt x="202" y="888"/>
                      </a:lnTo>
                      <a:lnTo>
                        <a:pt x="191" y="913"/>
                      </a:lnTo>
                      <a:lnTo>
                        <a:pt x="176" y="934"/>
                      </a:lnTo>
                      <a:lnTo>
                        <a:pt x="154" y="949"/>
                      </a:lnTo>
                      <a:lnTo>
                        <a:pt x="130" y="960"/>
                      </a:lnTo>
                      <a:lnTo>
                        <a:pt x="102" y="963"/>
                      </a:lnTo>
                      <a:lnTo>
                        <a:pt x="76" y="960"/>
                      </a:lnTo>
                      <a:lnTo>
                        <a:pt x="50" y="949"/>
                      </a:lnTo>
                      <a:lnTo>
                        <a:pt x="31" y="934"/>
                      </a:lnTo>
                      <a:lnTo>
                        <a:pt x="14" y="913"/>
                      </a:lnTo>
                      <a:lnTo>
                        <a:pt x="5" y="888"/>
                      </a:lnTo>
                      <a:lnTo>
                        <a:pt x="0" y="861"/>
                      </a:lnTo>
                      <a:lnTo>
                        <a:pt x="0" y="102"/>
                      </a:lnTo>
                      <a:lnTo>
                        <a:pt x="5" y="75"/>
                      </a:lnTo>
                      <a:lnTo>
                        <a:pt x="14" y="51"/>
                      </a:lnTo>
                      <a:lnTo>
                        <a:pt x="31" y="31"/>
                      </a:lnTo>
                      <a:lnTo>
                        <a:pt x="50" y="14"/>
                      </a:lnTo>
                      <a:lnTo>
                        <a:pt x="76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" name="Freeform 27"/>
                <p:cNvSpPr>
                  <a:spLocks/>
                </p:cNvSpPr>
                <p:nvPr/>
              </p:nvSpPr>
              <p:spPr bwMode="auto">
                <a:xfrm>
                  <a:off x="-1163" y="2161"/>
                  <a:ext cx="103" cy="616"/>
                </a:xfrm>
                <a:custGeom>
                  <a:avLst/>
                  <a:gdLst>
                    <a:gd name="T0" fmla="*/ 102 w 204"/>
                    <a:gd name="T1" fmla="*/ 0 h 1231"/>
                    <a:gd name="T2" fmla="*/ 129 w 204"/>
                    <a:gd name="T3" fmla="*/ 3 h 1231"/>
                    <a:gd name="T4" fmla="*/ 154 w 204"/>
                    <a:gd name="T5" fmla="*/ 13 h 1231"/>
                    <a:gd name="T6" fmla="*/ 174 w 204"/>
                    <a:gd name="T7" fmla="*/ 30 h 1231"/>
                    <a:gd name="T8" fmla="*/ 191 w 204"/>
                    <a:gd name="T9" fmla="*/ 50 h 1231"/>
                    <a:gd name="T10" fmla="*/ 201 w 204"/>
                    <a:gd name="T11" fmla="*/ 74 h 1231"/>
                    <a:gd name="T12" fmla="*/ 204 w 204"/>
                    <a:gd name="T13" fmla="*/ 102 h 1231"/>
                    <a:gd name="T14" fmla="*/ 204 w 204"/>
                    <a:gd name="T15" fmla="*/ 1129 h 1231"/>
                    <a:gd name="T16" fmla="*/ 201 w 204"/>
                    <a:gd name="T17" fmla="*/ 1156 h 1231"/>
                    <a:gd name="T18" fmla="*/ 191 w 204"/>
                    <a:gd name="T19" fmla="*/ 1181 h 1231"/>
                    <a:gd name="T20" fmla="*/ 174 w 204"/>
                    <a:gd name="T21" fmla="*/ 1202 h 1231"/>
                    <a:gd name="T22" fmla="*/ 154 w 204"/>
                    <a:gd name="T23" fmla="*/ 1217 h 1231"/>
                    <a:gd name="T24" fmla="*/ 129 w 204"/>
                    <a:gd name="T25" fmla="*/ 1228 h 1231"/>
                    <a:gd name="T26" fmla="*/ 102 w 204"/>
                    <a:gd name="T27" fmla="*/ 1231 h 1231"/>
                    <a:gd name="T28" fmla="*/ 74 w 204"/>
                    <a:gd name="T29" fmla="*/ 1228 h 1231"/>
                    <a:gd name="T30" fmla="*/ 50 w 204"/>
                    <a:gd name="T31" fmla="*/ 1217 h 1231"/>
                    <a:gd name="T32" fmla="*/ 29 w 204"/>
                    <a:gd name="T33" fmla="*/ 1202 h 1231"/>
                    <a:gd name="T34" fmla="*/ 13 w 204"/>
                    <a:gd name="T35" fmla="*/ 1181 h 1231"/>
                    <a:gd name="T36" fmla="*/ 3 w 204"/>
                    <a:gd name="T37" fmla="*/ 1156 h 1231"/>
                    <a:gd name="T38" fmla="*/ 0 w 204"/>
                    <a:gd name="T39" fmla="*/ 1129 h 1231"/>
                    <a:gd name="T40" fmla="*/ 0 w 204"/>
                    <a:gd name="T41" fmla="*/ 102 h 1231"/>
                    <a:gd name="T42" fmla="*/ 3 w 204"/>
                    <a:gd name="T43" fmla="*/ 74 h 1231"/>
                    <a:gd name="T44" fmla="*/ 13 w 204"/>
                    <a:gd name="T45" fmla="*/ 51 h 1231"/>
                    <a:gd name="T46" fmla="*/ 29 w 204"/>
                    <a:gd name="T47" fmla="*/ 30 h 1231"/>
                    <a:gd name="T48" fmla="*/ 48 w 204"/>
                    <a:gd name="T49" fmla="*/ 15 h 1231"/>
                    <a:gd name="T50" fmla="*/ 74 w 204"/>
                    <a:gd name="T51" fmla="*/ 4 h 1231"/>
                    <a:gd name="T52" fmla="*/ 102 w 204"/>
                    <a:gd name="T53" fmla="*/ 0 h 12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4" h="1231">
                      <a:moveTo>
                        <a:pt x="102" y="0"/>
                      </a:moveTo>
                      <a:lnTo>
                        <a:pt x="129" y="3"/>
                      </a:lnTo>
                      <a:lnTo>
                        <a:pt x="154" y="13"/>
                      </a:lnTo>
                      <a:lnTo>
                        <a:pt x="174" y="30"/>
                      </a:lnTo>
                      <a:lnTo>
                        <a:pt x="191" y="50"/>
                      </a:lnTo>
                      <a:lnTo>
                        <a:pt x="201" y="74"/>
                      </a:lnTo>
                      <a:lnTo>
                        <a:pt x="204" y="102"/>
                      </a:lnTo>
                      <a:lnTo>
                        <a:pt x="204" y="1129"/>
                      </a:lnTo>
                      <a:lnTo>
                        <a:pt x="201" y="1156"/>
                      </a:lnTo>
                      <a:lnTo>
                        <a:pt x="191" y="1181"/>
                      </a:lnTo>
                      <a:lnTo>
                        <a:pt x="174" y="1202"/>
                      </a:lnTo>
                      <a:lnTo>
                        <a:pt x="154" y="1217"/>
                      </a:lnTo>
                      <a:lnTo>
                        <a:pt x="129" y="1228"/>
                      </a:lnTo>
                      <a:lnTo>
                        <a:pt x="102" y="1231"/>
                      </a:lnTo>
                      <a:lnTo>
                        <a:pt x="74" y="1228"/>
                      </a:lnTo>
                      <a:lnTo>
                        <a:pt x="50" y="1217"/>
                      </a:lnTo>
                      <a:lnTo>
                        <a:pt x="29" y="1202"/>
                      </a:lnTo>
                      <a:lnTo>
                        <a:pt x="13" y="1181"/>
                      </a:lnTo>
                      <a:lnTo>
                        <a:pt x="3" y="1156"/>
                      </a:lnTo>
                      <a:lnTo>
                        <a:pt x="0" y="1129"/>
                      </a:lnTo>
                      <a:lnTo>
                        <a:pt x="0" y="102"/>
                      </a:lnTo>
                      <a:lnTo>
                        <a:pt x="3" y="74"/>
                      </a:lnTo>
                      <a:lnTo>
                        <a:pt x="13" y="51"/>
                      </a:lnTo>
                      <a:lnTo>
                        <a:pt x="29" y="30"/>
                      </a:lnTo>
                      <a:lnTo>
                        <a:pt x="48" y="15"/>
                      </a:lnTo>
                      <a:lnTo>
                        <a:pt x="74" y="4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" name="Freeform 28"/>
                <p:cNvSpPr>
                  <a:spLocks/>
                </p:cNvSpPr>
                <p:nvPr/>
              </p:nvSpPr>
              <p:spPr bwMode="auto">
                <a:xfrm>
                  <a:off x="21" y="2418"/>
                  <a:ext cx="337" cy="103"/>
                </a:xfrm>
                <a:custGeom>
                  <a:avLst/>
                  <a:gdLst>
                    <a:gd name="T0" fmla="*/ 102 w 675"/>
                    <a:gd name="T1" fmla="*/ 0 h 204"/>
                    <a:gd name="T2" fmla="*/ 573 w 675"/>
                    <a:gd name="T3" fmla="*/ 0 h 204"/>
                    <a:gd name="T4" fmla="*/ 600 w 675"/>
                    <a:gd name="T5" fmla="*/ 3 h 204"/>
                    <a:gd name="T6" fmla="*/ 625 w 675"/>
                    <a:gd name="T7" fmla="*/ 14 h 204"/>
                    <a:gd name="T8" fmla="*/ 644 w 675"/>
                    <a:gd name="T9" fmla="*/ 29 h 204"/>
                    <a:gd name="T10" fmla="*/ 661 w 675"/>
                    <a:gd name="T11" fmla="*/ 50 h 204"/>
                    <a:gd name="T12" fmla="*/ 670 w 675"/>
                    <a:gd name="T13" fmla="*/ 75 h 204"/>
                    <a:gd name="T14" fmla="*/ 675 w 675"/>
                    <a:gd name="T15" fmla="*/ 102 h 204"/>
                    <a:gd name="T16" fmla="*/ 670 w 675"/>
                    <a:gd name="T17" fmla="*/ 128 h 204"/>
                    <a:gd name="T18" fmla="*/ 661 w 675"/>
                    <a:gd name="T19" fmla="*/ 152 h 204"/>
                    <a:gd name="T20" fmla="*/ 644 w 675"/>
                    <a:gd name="T21" fmla="*/ 174 h 204"/>
                    <a:gd name="T22" fmla="*/ 625 w 675"/>
                    <a:gd name="T23" fmla="*/ 191 h 204"/>
                    <a:gd name="T24" fmla="*/ 600 w 675"/>
                    <a:gd name="T25" fmla="*/ 200 h 204"/>
                    <a:gd name="T26" fmla="*/ 573 w 675"/>
                    <a:gd name="T27" fmla="*/ 204 h 204"/>
                    <a:gd name="T28" fmla="*/ 102 w 675"/>
                    <a:gd name="T29" fmla="*/ 204 h 204"/>
                    <a:gd name="T30" fmla="*/ 76 w 675"/>
                    <a:gd name="T31" fmla="*/ 200 h 204"/>
                    <a:gd name="T32" fmla="*/ 52 w 675"/>
                    <a:gd name="T33" fmla="*/ 191 h 204"/>
                    <a:gd name="T34" fmla="*/ 30 w 675"/>
                    <a:gd name="T35" fmla="*/ 174 h 204"/>
                    <a:gd name="T36" fmla="*/ 14 w 675"/>
                    <a:gd name="T37" fmla="*/ 152 h 204"/>
                    <a:gd name="T38" fmla="*/ 4 w 675"/>
                    <a:gd name="T39" fmla="*/ 128 h 204"/>
                    <a:gd name="T40" fmla="*/ 0 w 675"/>
                    <a:gd name="T41" fmla="*/ 102 h 204"/>
                    <a:gd name="T42" fmla="*/ 4 w 675"/>
                    <a:gd name="T43" fmla="*/ 75 h 204"/>
                    <a:gd name="T44" fmla="*/ 14 w 675"/>
                    <a:gd name="T45" fmla="*/ 50 h 204"/>
                    <a:gd name="T46" fmla="*/ 30 w 675"/>
                    <a:gd name="T47" fmla="*/ 29 h 204"/>
                    <a:gd name="T48" fmla="*/ 52 w 675"/>
                    <a:gd name="T49" fmla="*/ 14 h 204"/>
                    <a:gd name="T50" fmla="*/ 76 w 675"/>
                    <a:gd name="T51" fmla="*/ 3 h 204"/>
                    <a:gd name="T52" fmla="*/ 102 w 675"/>
                    <a:gd name="T53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75" h="204">
                      <a:moveTo>
                        <a:pt x="102" y="0"/>
                      </a:moveTo>
                      <a:lnTo>
                        <a:pt x="573" y="0"/>
                      </a:lnTo>
                      <a:lnTo>
                        <a:pt x="600" y="3"/>
                      </a:lnTo>
                      <a:lnTo>
                        <a:pt x="625" y="14"/>
                      </a:lnTo>
                      <a:lnTo>
                        <a:pt x="644" y="29"/>
                      </a:lnTo>
                      <a:lnTo>
                        <a:pt x="661" y="50"/>
                      </a:lnTo>
                      <a:lnTo>
                        <a:pt x="670" y="75"/>
                      </a:lnTo>
                      <a:lnTo>
                        <a:pt x="675" y="102"/>
                      </a:lnTo>
                      <a:lnTo>
                        <a:pt x="670" y="128"/>
                      </a:lnTo>
                      <a:lnTo>
                        <a:pt x="661" y="152"/>
                      </a:lnTo>
                      <a:lnTo>
                        <a:pt x="644" y="174"/>
                      </a:lnTo>
                      <a:lnTo>
                        <a:pt x="625" y="191"/>
                      </a:lnTo>
                      <a:lnTo>
                        <a:pt x="600" y="200"/>
                      </a:lnTo>
                      <a:lnTo>
                        <a:pt x="573" y="204"/>
                      </a:lnTo>
                      <a:lnTo>
                        <a:pt x="102" y="204"/>
                      </a:lnTo>
                      <a:lnTo>
                        <a:pt x="76" y="200"/>
                      </a:lnTo>
                      <a:lnTo>
                        <a:pt x="52" y="191"/>
                      </a:lnTo>
                      <a:lnTo>
                        <a:pt x="30" y="174"/>
                      </a:lnTo>
                      <a:lnTo>
                        <a:pt x="14" y="152"/>
                      </a:lnTo>
                      <a:lnTo>
                        <a:pt x="4" y="128"/>
                      </a:lnTo>
                      <a:lnTo>
                        <a:pt x="0" y="102"/>
                      </a:lnTo>
                      <a:lnTo>
                        <a:pt x="4" y="75"/>
                      </a:lnTo>
                      <a:lnTo>
                        <a:pt x="14" y="50"/>
                      </a:lnTo>
                      <a:lnTo>
                        <a:pt x="30" y="29"/>
                      </a:lnTo>
                      <a:lnTo>
                        <a:pt x="52" y="14"/>
                      </a:lnTo>
                      <a:lnTo>
                        <a:pt x="76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" name="Freeform 29"/>
                <p:cNvSpPr>
                  <a:spLocks/>
                </p:cNvSpPr>
                <p:nvPr/>
              </p:nvSpPr>
              <p:spPr bwMode="auto">
                <a:xfrm>
                  <a:off x="21" y="2642"/>
                  <a:ext cx="337" cy="102"/>
                </a:xfrm>
                <a:custGeom>
                  <a:avLst/>
                  <a:gdLst>
                    <a:gd name="T0" fmla="*/ 102 w 675"/>
                    <a:gd name="T1" fmla="*/ 0 h 204"/>
                    <a:gd name="T2" fmla="*/ 573 w 675"/>
                    <a:gd name="T3" fmla="*/ 0 h 204"/>
                    <a:gd name="T4" fmla="*/ 600 w 675"/>
                    <a:gd name="T5" fmla="*/ 3 h 204"/>
                    <a:gd name="T6" fmla="*/ 625 w 675"/>
                    <a:gd name="T7" fmla="*/ 14 h 204"/>
                    <a:gd name="T8" fmla="*/ 644 w 675"/>
                    <a:gd name="T9" fmla="*/ 30 h 204"/>
                    <a:gd name="T10" fmla="*/ 661 w 675"/>
                    <a:gd name="T11" fmla="*/ 50 h 204"/>
                    <a:gd name="T12" fmla="*/ 670 w 675"/>
                    <a:gd name="T13" fmla="*/ 75 h 204"/>
                    <a:gd name="T14" fmla="*/ 675 w 675"/>
                    <a:gd name="T15" fmla="*/ 102 h 204"/>
                    <a:gd name="T16" fmla="*/ 670 w 675"/>
                    <a:gd name="T17" fmla="*/ 130 h 204"/>
                    <a:gd name="T18" fmla="*/ 661 w 675"/>
                    <a:gd name="T19" fmla="*/ 154 h 204"/>
                    <a:gd name="T20" fmla="*/ 644 w 675"/>
                    <a:gd name="T21" fmla="*/ 174 h 204"/>
                    <a:gd name="T22" fmla="*/ 625 w 675"/>
                    <a:gd name="T23" fmla="*/ 191 h 204"/>
                    <a:gd name="T24" fmla="*/ 600 w 675"/>
                    <a:gd name="T25" fmla="*/ 201 h 204"/>
                    <a:gd name="T26" fmla="*/ 573 w 675"/>
                    <a:gd name="T27" fmla="*/ 204 h 204"/>
                    <a:gd name="T28" fmla="*/ 102 w 675"/>
                    <a:gd name="T29" fmla="*/ 204 h 204"/>
                    <a:gd name="T30" fmla="*/ 76 w 675"/>
                    <a:gd name="T31" fmla="*/ 201 h 204"/>
                    <a:gd name="T32" fmla="*/ 52 w 675"/>
                    <a:gd name="T33" fmla="*/ 191 h 204"/>
                    <a:gd name="T34" fmla="*/ 30 w 675"/>
                    <a:gd name="T35" fmla="*/ 174 h 204"/>
                    <a:gd name="T36" fmla="*/ 14 w 675"/>
                    <a:gd name="T37" fmla="*/ 154 h 204"/>
                    <a:gd name="T38" fmla="*/ 4 w 675"/>
                    <a:gd name="T39" fmla="*/ 130 h 204"/>
                    <a:gd name="T40" fmla="*/ 0 w 675"/>
                    <a:gd name="T41" fmla="*/ 102 h 204"/>
                    <a:gd name="T42" fmla="*/ 4 w 675"/>
                    <a:gd name="T43" fmla="*/ 75 h 204"/>
                    <a:gd name="T44" fmla="*/ 14 w 675"/>
                    <a:gd name="T45" fmla="*/ 50 h 204"/>
                    <a:gd name="T46" fmla="*/ 30 w 675"/>
                    <a:gd name="T47" fmla="*/ 30 h 204"/>
                    <a:gd name="T48" fmla="*/ 52 w 675"/>
                    <a:gd name="T49" fmla="*/ 14 h 204"/>
                    <a:gd name="T50" fmla="*/ 76 w 675"/>
                    <a:gd name="T51" fmla="*/ 3 h 204"/>
                    <a:gd name="T52" fmla="*/ 102 w 675"/>
                    <a:gd name="T53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75" h="204">
                      <a:moveTo>
                        <a:pt x="102" y="0"/>
                      </a:moveTo>
                      <a:lnTo>
                        <a:pt x="573" y="0"/>
                      </a:lnTo>
                      <a:lnTo>
                        <a:pt x="600" y="3"/>
                      </a:lnTo>
                      <a:lnTo>
                        <a:pt x="625" y="14"/>
                      </a:lnTo>
                      <a:lnTo>
                        <a:pt x="644" y="30"/>
                      </a:lnTo>
                      <a:lnTo>
                        <a:pt x="661" y="50"/>
                      </a:lnTo>
                      <a:lnTo>
                        <a:pt x="670" y="75"/>
                      </a:lnTo>
                      <a:lnTo>
                        <a:pt x="675" y="102"/>
                      </a:lnTo>
                      <a:lnTo>
                        <a:pt x="670" y="130"/>
                      </a:lnTo>
                      <a:lnTo>
                        <a:pt x="661" y="154"/>
                      </a:lnTo>
                      <a:lnTo>
                        <a:pt x="644" y="174"/>
                      </a:lnTo>
                      <a:lnTo>
                        <a:pt x="625" y="191"/>
                      </a:lnTo>
                      <a:lnTo>
                        <a:pt x="600" y="201"/>
                      </a:lnTo>
                      <a:lnTo>
                        <a:pt x="573" y="204"/>
                      </a:lnTo>
                      <a:lnTo>
                        <a:pt x="102" y="204"/>
                      </a:lnTo>
                      <a:lnTo>
                        <a:pt x="76" y="201"/>
                      </a:lnTo>
                      <a:lnTo>
                        <a:pt x="52" y="191"/>
                      </a:lnTo>
                      <a:lnTo>
                        <a:pt x="30" y="174"/>
                      </a:lnTo>
                      <a:lnTo>
                        <a:pt x="14" y="154"/>
                      </a:lnTo>
                      <a:lnTo>
                        <a:pt x="4" y="130"/>
                      </a:lnTo>
                      <a:lnTo>
                        <a:pt x="0" y="102"/>
                      </a:lnTo>
                      <a:lnTo>
                        <a:pt x="4" y="75"/>
                      </a:lnTo>
                      <a:lnTo>
                        <a:pt x="14" y="50"/>
                      </a:lnTo>
                      <a:lnTo>
                        <a:pt x="30" y="30"/>
                      </a:lnTo>
                      <a:lnTo>
                        <a:pt x="52" y="14"/>
                      </a:lnTo>
                      <a:lnTo>
                        <a:pt x="76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0" name="Group 39"/>
              <p:cNvGrpSpPr>
                <a:grpSpLocks noChangeAspect="1"/>
              </p:cNvGrpSpPr>
              <p:nvPr/>
            </p:nvGrpSpPr>
            <p:grpSpPr bwMode="auto">
              <a:xfrm>
                <a:off x="5687966" y="5369937"/>
                <a:ext cx="353443" cy="362609"/>
                <a:chOff x="-1173" y="2275"/>
                <a:chExt cx="617" cy="633"/>
              </a:xfrm>
              <a:solidFill>
                <a:schemeClr val="bg1"/>
              </a:solidFill>
            </p:grpSpPr>
            <p:sp>
              <p:nvSpPr>
                <p:cNvPr id="21" name="Freeform 41"/>
                <p:cNvSpPr>
                  <a:spLocks noEditPoints="1"/>
                </p:cNvSpPr>
                <p:nvPr/>
              </p:nvSpPr>
              <p:spPr bwMode="auto">
                <a:xfrm>
                  <a:off x="-1040" y="2469"/>
                  <a:ext cx="350" cy="98"/>
                </a:xfrm>
                <a:custGeom>
                  <a:avLst/>
                  <a:gdLst>
                    <a:gd name="T0" fmla="*/ 1337 w 2099"/>
                    <a:gd name="T1" fmla="*/ 294 h 587"/>
                    <a:gd name="T2" fmla="*/ 1337 w 2099"/>
                    <a:gd name="T3" fmla="*/ 450 h 587"/>
                    <a:gd name="T4" fmla="*/ 1812 w 2099"/>
                    <a:gd name="T5" fmla="*/ 450 h 587"/>
                    <a:gd name="T6" fmla="*/ 1812 w 2099"/>
                    <a:gd name="T7" fmla="*/ 294 h 587"/>
                    <a:gd name="T8" fmla="*/ 1337 w 2099"/>
                    <a:gd name="T9" fmla="*/ 294 h 587"/>
                    <a:gd name="T10" fmla="*/ 196 w 2099"/>
                    <a:gd name="T11" fmla="*/ 123 h 587"/>
                    <a:gd name="T12" fmla="*/ 175 w 2099"/>
                    <a:gd name="T13" fmla="*/ 126 h 587"/>
                    <a:gd name="T14" fmla="*/ 156 w 2099"/>
                    <a:gd name="T15" fmla="*/ 136 h 587"/>
                    <a:gd name="T16" fmla="*/ 142 w 2099"/>
                    <a:gd name="T17" fmla="*/ 151 h 587"/>
                    <a:gd name="T18" fmla="*/ 133 w 2099"/>
                    <a:gd name="T19" fmla="*/ 169 h 587"/>
                    <a:gd name="T20" fmla="*/ 129 w 2099"/>
                    <a:gd name="T21" fmla="*/ 190 h 587"/>
                    <a:gd name="T22" fmla="*/ 133 w 2099"/>
                    <a:gd name="T23" fmla="*/ 211 h 587"/>
                    <a:gd name="T24" fmla="*/ 142 w 2099"/>
                    <a:gd name="T25" fmla="*/ 230 h 587"/>
                    <a:gd name="T26" fmla="*/ 156 w 2099"/>
                    <a:gd name="T27" fmla="*/ 244 h 587"/>
                    <a:gd name="T28" fmla="*/ 175 w 2099"/>
                    <a:gd name="T29" fmla="*/ 254 h 587"/>
                    <a:gd name="T30" fmla="*/ 196 w 2099"/>
                    <a:gd name="T31" fmla="*/ 257 h 587"/>
                    <a:gd name="T32" fmla="*/ 218 w 2099"/>
                    <a:gd name="T33" fmla="*/ 254 h 587"/>
                    <a:gd name="T34" fmla="*/ 237 w 2099"/>
                    <a:gd name="T35" fmla="*/ 244 h 587"/>
                    <a:gd name="T36" fmla="*/ 251 w 2099"/>
                    <a:gd name="T37" fmla="*/ 230 h 587"/>
                    <a:gd name="T38" fmla="*/ 260 w 2099"/>
                    <a:gd name="T39" fmla="*/ 211 h 587"/>
                    <a:gd name="T40" fmla="*/ 264 w 2099"/>
                    <a:gd name="T41" fmla="*/ 190 h 587"/>
                    <a:gd name="T42" fmla="*/ 260 w 2099"/>
                    <a:gd name="T43" fmla="*/ 169 h 587"/>
                    <a:gd name="T44" fmla="*/ 251 w 2099"/>
                    <a:gd name="T45" fmla="*/ 151 h 587"/>
                    <a:gd name="T46" fmla="*/ 237 w 2099"/>
                    <a:gd name="T47" fmla="*/ 136 h 587"/>
                    <a:gd name="T48" fmla="*/ 218 w 2099"/>
                    <a:gd name="T49" fmla="*/ 126 h 587"/>
                    <a:gd name="T50" fmla="*/ 196 w 2099"/>
                    <a:gd name="T51" fmla="*/ 123 h 587"/>
                    <a:gd name="T52" fmla="*/ 109 w 2099"/>
                    <a:gd name="T53" fmla="*/ 0 h 587"/>
                    <a:gd name="T54" fmla="*/ 1991 w 2099"/>
                    <a:gd name="T55" fmla="*/ 0 h 587"/>
                    <a:gd name="T56" fmla="*/ 2016 w 2099"/>
                    <a:gd name="T57" fmla="*/ 3 h 587"/>
                    <a:gd name="T58" fmla="*/ 2038 w 2099"/>
                    <a:gd name="T59" fmla="*/ 11 h 587"/>
                    <a:gd name="T60" fmla="*/ 2058 w 2099"/>
                    <a:gd name="T61" fmla="*/ 24 h 587"/>
                    <a:gd name="T62" fmla="*/ 2075 w 2099"/>
                    <a:gd name="T63" fmla="*/ 40 h 587"/>
                    <a:gd name="T64" fmla="*/ 2088 w 2099"/>
                    <a:gd name="T65" fmla="*/ 60 h 587"/>
                    <a:gd name="T66" fmla="*/ 2096 w 2099"/>
                    <a:gd name="T67" fmla="*/ 84 h 587"/>
                    <a:gd name="T68" fmla="*/ 2099 w 2099"/>
                    <a:gd name="T69" fmla="*/ 109 h 587"/>
                    <a:gd name="T70" fmla="*/ 2099 w 2099"/>
                    <a:gd name="T71" fmla="*/ 479 h 587"/>
                    <a:gd name="T72" fmla="*/ 2096 w 2099"/>
                    <a:gd name="T73" fmla="*/ 503 h 587"/>
                    <a:gd name="T74" fmla="*/ 2088 w 2099"/>
                    <a:gd name="T75" fmla="*/ 526 h 587"/>
                    <a:gd name="T76" fmla="*/ 2075 w 2099"/>
                    <a:gd name="T77" fmla="*/ 546 h 587"/>
                    <a:gd name="T78" fmla="*/ 2058 w 2099"/>
                    <a:gd name="T79" fmla="*/ 562 h 587"/>
                    <a:gd name="T80" fmla="*/ 2038 w 2099"/>
                    <a:gd name="T81" fmla="*/ 575 h 587"/>
                    <a:gd name="T82" fmla="*/ 2016 w 2099"/>
                    <a:gd name="T83" fmla="*/ 583 h 587"/>
                    <a:gd name="T84" fmla="*/ 1991 w 2099"/>
                    <a:gd name="T85" fmla="*/ 587 h 587"/>
                    <a:gd name="T86" fmla="*/ 109 w 2099"/>
                    <a:gd name="T87" fmla="*/ 587 h 587"/>
                    <a:gd name="T88" fmla="*/ 84 w 2099"/>
                    <a:gd name="T89" fmla="*/ 583 h 587"/>
                    <a:gd name="T90" fmla="*/ 62 w 2099"/>
                    <a:gd name="T91" fmla="*/ 575 h 587"/>
                    <a:gd name="T92" fmla="*/ 40 w 2099"/>
                    <a:gd name="T93" fmla="*/ 562 h 587"/>
                    <a:gd name="T94" fmla="*/ 24 w 2099"/>
                    <a:gd name="T95" fmla="*/ 546 h 587"/>
                    <a:gd name="T96" fmla="*/ 11 w 2099"/>
                    <a:gd name="T97" fmla="*/ 526 h 587"/>
                    <a:gd name="T98" fmla="*/ 3 w 2099"/>
                    <a:gd name="T99" fmla="*/ 503 h 587"/>
                    <a:gd name="T100" fmla="*/ 0 w 2099"/>
                    <a:gd name="T101" fmla="*/ 479 h 587"/>
                    <a:gd name="T102" fmla="*/ 0 w 2099"/>
                    <a:gd name="T103" fmla="*/ 109 h 587"/>
                    <a:gd name="T104" fmla="*/ 3 w 2099"/>
                    <a:gd name="T105" fmla="*/ 84 h 587"/>
                    <a:gd name="T106" fmla="*/ 11 w 2099"/>
                    <a:gd name="T107" fmla="*/ 60 h 587"/>
                    <a:gd name="T108" fmla="*/ 24 w 2099"/>
                    <a:gd name="T109" fmla="*/ 40 h 587"/>
                    <a:gd name="T110" fmla="*/ 40 w 2099"/>
                    <a:gd name="T111" fmla="*/ 24 h 587"/>
                    <a:gd name="T112" fmla="*/ 62 w 2099"/>
                    <a:gd name="T113" fmla="*/ 11 h 587"/>
                    <a:gd name="T114" fmla="*/ 84 w 2099"/>
                    <a:gd name="T115" fmla="*/ 3 h 587"/>
                    <a:gd name="T116" fmla="*/ 109 w 2099"/>
                    <a:gd name="T117" fmla="*/ 0 h 5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99" h="587">
                      <a:moveTo>
                        <a:pt x="1337" y="294"/>
                      </a:moveTo>
                      <a:lnTo>
                        <a:pt x="1337" y="450"/>
                      </a:lnTo>
                      <a:lnTo>
                        <a:pt x="1812" y="450"/>
                      </a:lnTo>
                      <a:lnTo>
                        <a:pt x="1812" y="294"/>
                      </a:lnTo>
                      <a:lnTo>
                        <a:pt x="1337" y="294"/>
                      </a:lnTo>
                      <a:close/>
                      <a:moveTo>
                        <a:pt x="196" y="123"/>
                      </a:moveTo>
                      <a:lnTo>
                        <a:pt x="175" y="126"/>
                      </a:lnTo>
                      <a:lnTo>
                        <a:pt x="156" y="136"/>
                      </a:lnTo>
                      <a:lnTo>
                        <a:pt x="142" y="151"/>
                      </a:lnTo>
                      <a:lnTo>
                        <a:pt x="133" y="169"/>
                      </a:lnTo>
                      <a:lnTo>
                        <a:pt x="129" y="190"/>
                      </a:lnTo>
                      <a:lnTo>
                        <a:pt x="133" y="211"/>
                      </a:lnTo>
                      <a:lnTo>
                        <a:pt x="142" y="230"/>
                      </a:lnTo>
                      <a:lnTo>
                        <a:pt x="156" y="244"/>
                      </a:lnTo>
                      <a:lnTo>
                        <a:pt x="175" y="254"/>
                      </a:lnTo>
                      <a:lnTo>
                        <a:pt x="196" y="257"/>
                      </a:lnTo>
                      <a:lnTo>
                        <a:pt x="218" y="254"/>
                      </a:lnTo>
                      <a:lnTo>
                        <a:pt x="237" y="244"/>
                      </a:lnTo>
                      <a:lnTo>
                        <a:pt x="251" y="230"/>
                      </a:lnTo>
                      <a:lnTo>
                        <a:pt x="260" y="211"/>
                      </a:lnTo>
                      <a:lnTo>
                        <a:pt x="264" y="190"/>
                      </a:lnTo>
                      <a:lnTo>
                        <a:pt x="260" y="169"/>
                      </a:lnTo>
                      <a:lnTo>
                        <a:pt x="251" y="151"/>
                      </a:lnTo>
                      <a:lnTo>
                        <a:pt x="237" y="136"/>
                      </a:lnTo>
                      <a:lnTo>
                        <a:pt x="218" y="126"/>
                      </a:lnTo>
                      <a:lnTo>
                        <a:pt x="196" y="123"/>
                      </a:lnTo>
                      <a:close/>
                      <a:moveTo>
                        <a:pt x="109" y="0"/>
                      </a:moveTo>
                      <a:lnTo>
                        <a:pt x="1991" y="0"/>
                      </a:lnTo>
                      <a:lnTo>
                        <a:pt x="2016" y="3"/>
                      </a:lnTo>
                      <a:lnTo>
                        <a:pt x="2038" y="11"/>
                      </a:lnTo>
                      <a:lnTo>
                        <a:pt x="2058" y="24"/>
                      </a:lnTo>
                      <a:lnTo>
                        <a:pt x="2075" y="40"/>
                      </a:lnTo>
                      <a:lnTo>
                        <a:pt x="2088" y="60"/>
                      </a:lnTo>
                      <a:lnTo>
                        <a:pt x="2096" y="84"/>
                      </a:lnTo>
                      <a:lnTo>
                        <a:pt x="2099" y="109"/>
                      </a:lnTo>
                      <a:lnTo>
                        <a:pt x="2099" y="479"/>
                      </a:lnTo>
                      <a:lnTo>
                        <a:pt x="2096" y="503"/>
                      </a:lnTo>
                      <a:lnTo>
                        <a:pt x="2088" y="526"/>
                      </a:lnTo>
                      <a:lnTo>
                        <a:pt x="2075" y="546"/>
                      </a:lnTo>
                      <a:lnTo>
                        <a:pt x="2058" y="562"/>
                      </a:lnTo>
                      <a:lnTo>
                        <a:pt x="2038" y="575"/>
                      </a:lnTo>
                      <a:lnTo>
                        <a:pt x="2016" y="583"/>
                      </a:lnTo>
                      <a:lnTo>
                        <a:pt x="1991" y="587"/>
                      </a:lnTo>
                      <a:lnTo>
                        <a:pt x="109" y="587"/>
                      </a:lnTo>
                      <a:lnTo>
                        <a:pt x="84" y="583"/>
                      </a:lnTo>
                      <a:lnTo>
                        <a:pt x="62" y="575"/>
                      </a:lnTo>
                      <a:lnTo>
                        <a:pt x="40" y="562"/>
                      </a:lnTo>
                      <a:lnTo>
                        <a:pt x="24" y="546"/>
                      </a:lnTo>
                      <a:lnTo>
                        <a:pt x="11" y="526"/>
                      </a:lnTo>
                      <a:lnTo>
                        <a:pt x="3" y="503"/>
                      </a:lnTo>
                      <a:lnTo>
                        <a:pt x="0" y="479"/>
                      </a:lnTo>
                      <a:lnTo>
                        <a:pt x="0" y="109"/>
                      </a:lnTo>
                      <a:lnTo>
                        <a:pt x="3" y="84"/>
                      </a:lnTo>
                      <a:lnTo>
                        <a:pt x="11" y="60"/>
                      </a:lnTo>
                      <a:lnTo>
                        <a:pt x="24" y="40"/>
                      </a:lnTo>
                      <a:lnTo>
                        <a:pt x="40" y="24"/>
                      </a:lnTo>
                      <a:lnTo>
                        <a:pt x="62" y="11"/>
                      </a:lnTo>
                      <a:lnTo>
                        <a:pt x="84" y="3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42"/>
                <p:cNvSpPr>
                  <a:spLocks noEditPoints="1"/>
                </p:cNvSpPr>
                <p:nvPr/>
              </p:nvSpPr>
              <p:spPr bwMode="auto">
                <a:xfrm>
                  <a:off x="-1040" y="2576"/>
                  <a:ext cx="350" cy="98"/>
                </a:xfrm>
                <a:custGeom>
                  <a:avLst/>
                  <a:gdLst>
                    <a:gd name="T0" fmla="*/ 1337 w 2099"/>
                    <a:gd name="T1" fmla="*/ 293 h 588"/>
                    <a:gd name="T2" fmla="*/ 1337 w 2099"/>
                    <a:gd name="T3" fmla="*/ 451 h 588"/>
                    <a:gd name="T4" fmla="*/ 1812 w 2099"/>
                    <a:gd name="T5" fmla="*/ 451 h 588"/>
                    <a:gd name="T6" fmla="*/ 1812 w 2099"/>
                    <a:gd name="T7" fmla="*/ 293 h 588"/>
                    <a:gd name="T8" fmla="*/ 1337 w 2099"/>
                    <a:gd name="T9" fmla="*/ 293 h 588"/>
                    <a:gd name="T10" fmla="*/ 196 w 2099"/>
                    <a:gd name="T11" fmla="*/ 124 h 588"/>
                    <a:gd name="T12" fmla="*/ 175 w 2099"/>
                    <a:gd name="T13" fmla="*/ 127 h 588"/>
                    <a:gd name="T14" fmla="*/ 156 w 2099"/>
                    <a:gd name="T15" fmla="*/ 137 h 588"/>
                    <a:gd name="T16" fmla="*/ 142 w 2099"/>
                    <a:gd name="T17" fmla="*/ 152 h 588"/>
                    <a:gd name="T18" fmla="*/ 133 w 2099"/>
                    <a:gd name="T19" fmla="*/ 170 h 588"/>
                    <a:gd name="T20" fmla="*/ 129 w 2099"/>
                    <a:gd name="T21" fmla="*/ 191 h 588"/>
                    <a:gd name="T22" fmla="*/ 133 w 2099"/>
                    <a:gd name="T23" fmla="*/ 212 h 588"/>
                    <a:gd name="T24" fmla="*/ 142 w 2099"/>
                    <a:gd name="T25" fmla="*/ 231 h 588"/>
                    <a:gd name="T26" fmla="*/ 156 w 2099"/>
                    <a:gd name="T27" fmla="*/ 245 h 588"/>
                    <a:gd name="T28" fmla="*/ 175 w 2099"/>
                    <a:gd name="T29" fmla="*/ 254 h 588"/>
                    <a:gd name="T30" fmla="*/ 196 w 2099"/>
                    <a:gd name="T31" fmla="*/ 258 h 588"/>
                    <a:gd name="T32" fmla="*/ 218 w 2099"/>
                    <a:gd name="T33" fmla="*/ 254 h 588"/>
                    <a:gd name="T34" fmla="*/ 237 w 2099"/>
                    <a:gd name="T35" fmla="*/ 245 h 588"/>
                    <a:gd name="T36" fmla="*/ 251 w 2099"/>
                    <a:gd name="T37" fmla="*/ 231 h 588"/>
                    <a:gd name="T38" fmla="*/ 260 w 2099"/>
                    <a:gd name="T39" fmla="*/ 212 h 588"/>
                    <a:gd name="T40" fmla="*/ 264 w 2099"/>
                    <a:gd name="T41" fmla="*/ 191 h 588"/>
                    <a:gd name="T42" fmla="*/ 260 w 2099"/>
                    <a:gd name="T43" fmla="*/ 170 h 588"/>
                    <a:gd name="T44" fmla="*/ 251 w 2099"/>
                    <a:gd name="T45" fmla="*/ 152 h 588"/>
                    <a:gd name="T46" fmla="*/ 237 w 2099"/>
                    <a:gd name="T47" fmla="*/ 137 h 588"/>
                    <a:gd name="T48" fmla="*/ 218 w 2099"/>
                    <a:gd name="T49" fmla="*/ 127 h 588"/>
                    <a:gd name="T50" fmla="*/ 196 w 2099"/>
                    <a:gd name="T51" fmla="*/ 124 h 588"/>
                    <a:gd name="T52" fmla="*/ 109 w 2099"/>
                    <a:gd name="T53" fmla="*/ 0 h 588"/>
                    <a:gd name="T54" fmla="*/ 1991 w 2099"/>
                    <a:gd name="T55" fmla="*/ 0 h 588"/>
                    <a:gd name="T56" fmla="*/ 2016 w 2099"/>
                    <a:gd name="T57" fmla="*/ 3 h 588"/>
                    <a:gd name="T58" fmla="*/ 2038 w 2099"/>
                    <a:gd name="T59" fmla="*/ 12 h 588"/>
                    <a:gd name="T60" fmla="*/ 2058 w 2099"/>
                    <a:gd name="T61" fmla="*/ 25 h 588"/>
                    <a:gd name="T62" fmla="*/ 2075 w 2099"/>
                    <a:gd name="T63" fmla="*/ 41 h 588"/>
                    <a:gd name="T64" fmla="*/ 2088 w 2099"/>
                    <a:gd name="T65" fmla="*/ 61 h 588"/>
                    <a:gd name="T66" fmla="*/ 2096 w 2099"/>
                    <a:gd name="T67" fmla="*/ 85 h 588"/>
                    <a:gd name="T68" fmla="*/ 2099 w 2099"/>
                    <a:gd name="T69" fmla="*/ 109 h 588"/>
                    <a:gd name="T70" fmla="*/ 2099 w 2099"/>
                    <a:gd name="T71" fmla="*/ 478 h 588"/>
                    <a:gd name="T72" fmla="*/ 2096 w 2099"/>
                    <a:gd name="T73" fmla="*/ 504 h 588"/>
                    <a:gd name="T74" fmla="*/ 2088 w 2099"/>
                    <a:gd name="T75" fmla="*/ 527 h 588"/>
                    <a:gd name="T76" fmla="*/ 2075 w 2099"/>
                    <a:gd name="T77" fmla="*/ 547 h 588"/>
                    <a:gd name="T78" fmla="*/ 2058 w 2099"/>
                    <a:gd name="T79" fmla="*/ 563 h 588"/>
                    <a:gd name="T80" fmla="*/ 2038 w 2099"/>
                    <a:gd name="T81" fmla="*/ 576 h 588"/>
                    <a:gd name="T82" fmla="*/ 2016 w 2099"/>
                    <a:gd name="T83" fmla="*/ 584 h 588"/>
                    <a:gd name="T84" fmla="*/ 1991 w 2099"/>
                    <a:gd name="T85" fmla="*/ 588 h 588"/>
                    <a:gd name="T86" fmla="*/ 109 w 2099"/>
                    <a:gd name="T87" fmla="*/ 588 h 588"/>
                    <a:gd name="T88" fmla="*/ 84 w 2099"/>
                    <a:gd name="T89" fmla="*/ 584 h 588"/>
                    <a:gd name="T90" fmla="*/ 62 w 2099"/>
                    <a:gd name="T91" fmla="*/ 576 h 588"/>
                    <a:gd name="T92" fmla="*/ 40 w 2099"/>
                    <a:gd name="T93" fmla="*/ 563 h 588"/>
                    <a:gd name="T94" fmla="*/ 24 w 2099"/>
                    <a:gd name="T95" fmla="*/ 547 h 588"/>
                    <a:gd name="T96" fmla="*/ 11 w 2099"/>
                    <a:gd name="T97" fmla="*/ 527 h 588"/>
                    <a:gd name="T98" fmla="*/ 3 w 2099"/>
                    <a:gd name="T99" fmla="*/ 504 h 588"/>
                    <a:gd name="T100" fmla="*/ 0 w 2099"/>
                    <a:gd name="T101" fmla="*/ 478 h 588"/>
                    <a:gd name="T102" fmla="*/ 0 w 2099"/>
                    <a:gd name="T103" fmla="*/ 109 h 588"/>
                    <a:gd name="T104" fmla="*/ 3 w 2099"/>
                    <a:gd name="T105" fmla="*/ 85 h 588"/>
                    <a:gd name="T106" fmla="*/ 11 w 2099"/>
                    <a:gd name="T107" fmla="*/ 61 h 588"/>
                    <a:gd name="T108" fmla="*/ 24 w 2099"/>
                    <a:gd name="T109" fmla="*/ 41 h 588"/>
                    <a:gd name="T110" fmla="*/ 40 w 2099"/>
                    <a:gd name="T111" fmla="*/ 25 h 588"/>
                    <a:gd name="T112" fmla="*/ 62 w 2099"/>
                    <a:gd name="T113" fmla="*/ 12 h 588"/>
                    <a:gd name="T114" fmla="*/ 84 w 2099"/>
                    <a:gd name="T115" fmla="*/ 3 h 588"/>
                    <a:gd name="T116" fmla="*/ 109 w 2099"/>
                    <a:gd name="T117" fmla="*/ 0 h 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99" h="588">
                      <a:moveTo>
                        <a:pt x="1337" y="293"/>
                      </a:moveTo>
                      <a:lnTo>
                        <a:pt x="1337" y="451"/>
                      </a:lnTo>
                      <a:lnTo>
                        <a:pt x="1812" y="451"/>
                      </a:lnTo>
                      <a:lnTo>
                        <a:pt x="1812" y="293"/>
                      </a:lnTo>
                      <a:lnTo>
                        <a:pt x="1337" y="293"/>
                      </a:lnTo>
                      <a:close/>
                      <a:moveTo>
                        <a:pt x="196" y="124"/>
                      </a:moveTo>
                      <a:lnTo>
                        <a:pt x="175" y="127"/>
                      </a:lnTo>
                      <a:lnTo>
                        <a:pt x="156" y="137"/>
                      </a:lnTo>
                      <a:lnTo>
                        <a:pt x="142" y="152"/>
                      </a:lnTo>
                      <a:lnTo>
                        <a:pt x="133" y="170"/>
                      </a:lnTo>
                      <a:lnTo>
                        <a:pt x="129" y="191"/>
                      </a:lnTo>
                      <a:lnTo>
                        <a:pt x="133" y="212"/>
                      </a:lnTo>
                      <a:lnTo>
                        <a:pt x="142" y="231"/>
                      </a:lnTo>
                      <a:lnTo>
                        <a:pt x="156" y="245"/>
                      </a:lnTo>
                      <a:lnTo>
                        <a:pt x="175" y="254"/>
                      </a:lnTo>
                      <a:lnTo>
                        <a:pt x="196" y="258"/>
                      </a:lnTo>
                      <a:lnTo>
                        <a:pt x="218" y="254"/>
                      </a:lnTo>
                      <a:lnTo>
                        <a:pt x="237" y="245"/>
                      </a:lnTo>
                      <a:lnTo>
                        <a:pt x="251" y="231"/>
                      </a:lnTo>
                      <a:lnTo>
                        <a:pt x="260" y="212"/>
                      </a:lnTo>
                      <a:lnTo>
                        <a:pt x="264" y="191"/>
                      </a:lnTo>
                      <a:lnTo>
                        <a:pt x="260" y="170"/>
                      </a:lnTo>
                      <a:lnTo>
                        <a:pt x="251" y="152"/>
                      </a:lnTo>
                      <a:lnTo>
                        <a:pt x="237" y="137"/>
                      </a:lnTo>
                      <a:lnTo>
                        <a:pt x="218" y="127"/>
                      </a:lnTo>
                      <a:lnTo>
                        <a:pt x="196" y="124"/>
                      </a:lnTo>
                      <a:close/>
                      <a:moveTo>
                        <a:pt x="109" y="0"/>
                      </a:moveTo>
                      <a:lnTo>
                        <a:pt x="1991" y="0"/>
                      </a:lnTo>
                      <a:lnTo>
                        <a:pt x="2016" y="3"/>
                      </a:lnTo>
                      <a:lnTo>
                        <a:pt x="2038" y="12"/>
                      </a:lnTo>
                      <a:lnTo>
                        <a:pt x="2058" y="25"/>
                      </a:lnTo>
                      <a:lnTo>
                        <a:pt x="2075" y="41"/>
                      </a:lnTo>
                      <a:lnTo>
                        <a:pt x="2088" y="61"/>
                      </a:lnTo>
                      <a:lnTo>
                        <a:pt x="2096" y="85"/>
                      </a:lnTo>
                      <a:lnTo>
                        <a:pt x="2099" y="109"/>
                      </a:lnTo>
                      <a:lnTo>
                        <a:pt x="2099" y="478"/>
                      </a:lnTo>
                      <a:lnTo>
                        <a:pt x="2096" y="504"/>
                      </a:lnTo>
                      <a:lnTo>
                        <a:pt x="2088" y="527"/>
                      </a:lnTo>
                      <a:lnTo>
                        <a:pt x="2075" y="547"/>
                      </a:lnTo>
                      <a:lnTo>
                        <a:pt x="2058" y="563"/>
                      </a:lnTo>
                      <a:lnTo>
                        <a:pt x="2038" y="576"/>
                      </a:lnTo>
                      <a:lnTo>
                        <a:pt x="2016" y="584"/>
                      </a:lnTo>
                      <a:lnTo>
                        <a:pt x="1991" y="588"/>
                      </a:lnTo>
                      <a:lnTo>
                        <a:pt x="109" y="588"/>
                      </a:lnTo>
                      <a:lnTo>
                        <a:pt x="84" y="584"/>
                      </a:lnTo>
                      <a:lnTo>
                        <a:pt x="62" y="576"/>
                      </a:lnTo>
                      <a:lnTo>
                        <a:pt x="40" y="563"/>
                      </a:lnTo>
                      <a:lnTo>
                        <a:pt x="24" y="547"/>
                      </a:lnTo>
                      <a:lnTo>
                        <a:pt x="11" y="527"/>
                      </a:lnTo>
                      <a:lnTo>
                        <a:pt x="3" y="504"/>
                      </a:lnTo>
                      <a:lnTo>
                        <a:pt x="0" y="478"/>
                      </a:lnTo>
                      <a:lnTo>
                        <a:pt x="0" y="109"/>
                      </a:lnTo>
                      <a:lnTo>
                        <a:pt x="3" y="85"/>
                      </a:lnTo>
                      <a:lnTo>
                        <a:pt x="11" y="61"/>
                      </a:lnTo>
                      <a:lnTo>
                        <a:pt x="24" y="41"/>
                      </a:lnTo>
                      <a:lnTo>
                        <a:pt x="40" y="25"/>
                      </a:lnTo>
                      <a:lnTo>
                        <a:pt x="62" y="12"/>
                      </a:lnTo>
                      <a:lnTo>
                        <a:pt x="84" y="3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43"/>
                <p:cNvSpPr>
                  <a:spLocks noEditPoints="1"/>
                </p:cNvSpPr>
                <p:nvPr/>
              </p:nvSpPr>
              <p:spPr bwMode="auto">
                <a:xfrm>
                  <a:off x="-1040" y="2684"/>
                  <a:ext cx="350" cy="98"/>
                </a:xfrm>
                <a:custGeom>
                  <a:avLst/>
                  <a:gdLst>
                    <a:gd name="T0" fmla="*/ 1337 w 2099"/>
                    <a:gd name="T1" fmla="*/ 293 h 586"/>
                    <a:gd name="T2" fmla="*/ 1337 w 2099"/>
                    <a:gd name="T3" fmla="*/ 451 h 586"/>
                    <a:gd name="T4" fmla="*/ 1812 w 2099"/>
                    <a:gd name="T5" fmla="*/ 451 h 586"/>
                    <a:gd name="T6" fmla="*/ 1812 w 2099"/>
                    <a:gd name="T7" fmla="*/ 293 h 586"/>
                    <a:gd name="T8" fmla="*/ 1337 w 2099"/>
                    <a:gd name="T9" fmla="*/ 293 h 586"/>
                    <a:gd name="T10" fmla="*/ 196 w 2099"/>
                    <a:gd name="T11" fmla="*/ 123 h 586"/>
                    <a:gd name="T12" fmla="*/ 175 w 2099"/>
                    <a:gd name="T13" fmla="*/ 127 h 586"/>
                    <a:gd name="T14" fmla="*/ 156 w 2099"/>
                    <a:gd name="T15" fmla="*/ 136 h 586"/>
                    <a:gd name="T16" fmla="*/ 142 w 2099"/>
                    <a:gd name="T17" fmla="*/ 151 h 586"/>
                    <a:gd name="T18" fmla="*/ 133 w 2099"/>
                    <a:gd name="T19" fmla="*/ 169 h 586"/>
                    <a:gd name="T20" fmla="*/ 129 w 2099"/>
                    <a:gd name="T21" fmla="*/ 191 h 586"/>
                    <a:gd name="T22" fmla="*/ 133 w 2099"/>
                    <a:gd name="T23" fmla="*/ 212 h 586"/>
                    <a:gd name="T24" fmla="*/ 142 w 2099"/>
                    <a:gd name="T25" fmla="*/ 231 h 586"/>
                    <a:gd name="T26" fmla="*/ 156 w 2099"/>
                    <a:gd name="T27" fmla="*/ 245 h 586"/>
                    <a:gd name="T28" fmla="*/ 175 w 2099"/>
                    <a:gd name="T29" fmla="*/ 254 h 586"/>
                    <a:gd name="T30" fmla="*/ 196 w 2099"/>
                    <a:gd name="T31" fmla="*/ 258 h 586"/>
                    <a:gd name="T32" fmla="*/ 218 w 2099"/>
                    <a:gd name="T33" fmla="*/ 254 h 586"/>
                    <a:gd name="T34" fmla="*/ 237 w 2099"/>
                    <a:gd name="T35" fmla="*/ 245 h 586"/>
                    <a:gd name="T36" fmla="*/ 251 w 2099"/>
                    <a:gd name="T37" fmla="*/ 231 h 586"/>
                    <a:gd name="T38" fmla="*/ 260 w 2099"/>
                    <a:gd name="T39" fmla="*/ 212 h 586"/>
                    <a:gd name="T40" fmla="*/ 264 w 2099"/>
                    <a:gd name="T41" fmla="*/ 191 h 586"/>
                    <a:gd name="T42" fmla="*/ 260 w 2099"/>
                    <a:gd name="T43" fmla="*/ 169 h 586"/>
                    <a:gd name="T44" fmla="*/ 251 w 2099"/>
                    <a:gd name="T45" fmla="*/ 151 h 586"/>
                    <a:gd name="T46" fmla="*/ 237 w 2099"/>
                    <a:gd name="T47" fmla="*/ 136 h 586"/>
                    <a:gd name="T48" fmla="*/ 218 w 2099"/>
                    <a:gd name="T49" fmla="*/ 127 h 586"/>
                    <a:gd name="T50" fmla="*/ 196 w 2099"/>
                    <a:gd name="T51" fmla="*/ 123 h 586"/>
                    <a:gd name="T52" fmla="*/ 109 w 2099"/>
                    <a:gd name="T53" fmla="*/ 0 h 586"/>
                    <a:gd name="T54" fmla="*/ 1991 w 2099"/>
                    <a:gd name="T55" fmla="*/ 0 h 586"/>
                    <a:gd name="T56" fmla="*/ 2016 w 2099"/>
                    <a:gd name="T57" fmla="*/ 3 h 586"/>
                    <a:gd name="T58" fmla="*/ 2038 w 2099"/>
                    <a:gd name="T59" fmla="*/ 12 h 586"/>
                    <a:gd name="T60" fmla="*/ 2058 w 2099"/>
                    <a:gd name="T61" fmla="*/ 24 h 586"/>
                    <a:gd name="T62" fmla="*/ 2075 w 2099"/>
                    <a:gd name="T63" fmla="*/ 41 h 586"/>
                    <a:gd name="T64" fmla="*/ 2088 w 2099"/>
                    <a:gd name="T65" fmla="*/ 61 h 586"/>
                    <a:gd name="T66" fmla="*/ 2096 w 2099"/>
                    <a:gd name="T67" fmla="*/ 83 h 586"/>
                    <a:gd name="T68" fmla="*/ 2099 w 2099"/>
                    <a:gd name="T69" fmla="*/ 108 h 586"/>
                    <a:gd name="T70" fmla="*/ 2099 w 2099"/>
                    <a:gd name="T71" fmla="*/ 478 h 586"/>
                    <a:gd name="T72" fmla="*/ 2096 w 2099"/>
                    <a:gd name="T73" fmla="*/ 503 h 586"/>
                    <a:gd name="T74" fmla="*/ 2088 w 2099"/>
                    <a:gd name="T75" fmla="*/ 526 h 586"/>
                    <a:gd name="T76" fmla="*/ 2075 w 2099"/>
                    <a:gd name="T77" fmla="*/ 546 h 586"/>
                    <a:gd name="T78" fmla="*/ 2058 w 2099"/>
                    <a:gd name="T79" fmla="*/ 563 h 586"/>
                    <a:gd name="T80" fmla="*/ 2038 w 2099"/>
                    <a:gd name="T81" fmla="*/ 576 h 586"/>
                    <a:gd name="T82" fmla="*/ 2016 w 2099"/>
                    <a:gd name="T83" fmla="*/ 584 h 586"/>
                    <a:gd name="T84" fmla="*/ 1991 w 2099"/>
                    <a:gd name="T85" fmla="*/ 586 h 586"/>
                    <a:gd name="T86" fmla="*/ 109 w 2099"/>
                    <a:gd name="T87" fmla="*/ 586 h 586"/>
                    <a:gd name="T88" fmla="*/ 84 w 2099"/>
                    <a:gd name="T89" fmla="*/ 584 h 586"/>
                    <a:gd name="T90" fmla="*/ 62 w 2099"/>
                    <a:gd name="T91" fmla="*/ 576 h 586"/>
                    <a:gd name="T92" fmla="*/ 40 w 2099"/>
                    <a:gd name="T93" fmla="*/ 563 h 586"/>
                    <a:gd name="T94" fmla="*/ 24 w 2099"/>
                    <a:gd name="T95" fmla="*/ 546 h 586"/>
                    <a:gd name="T96" fmla="*/ 11 w 2099"/>
                    <a:gd name="T97" fmla="*/ 526 h 586"/>
                    <a:gd name="T98" fmla="*/ 3 w 2099"/>
                    <a:gd name="T99" fmla="*/ 503 h 586"/>
                    <a:gd name="T100" fmla="*/ 0 w 2099"/>
                    <a:gd name="T101" fmla="*/ 478 h 586"/>
                    <a:gd name="T102" fmla="*/ 0 w 2099"/>
                    <a:gd name="T103" fmla="*/ 108 h 586"/>
                    <a:gd name="T104" fmla="*/ 3 w 2099"/>
                    <a:gd name="T105" fmla="*/ 83 h 586"/>
                    <a:gd name="T106" fmla="*/ 11 w 2099"/>
                    <a:gd name="T107" fmla="*/ 61 h 586"/>
                    <a:gd name="T108" fmla="*/ 24 w 2099"/>
                    <a:gd name="T109" fmla="*/ 41 h 586"/>
                    <a:gd name="T110" fmla="*/ 40 w 2099"/>
                    <a:gd name="T111" fmla="*/ 24 h 586"/>
                    <a:gd name="T112" fmla="*/ 62 w 2099"/>
                    <a:gd name="T113" fmla="*/ 12 h 586"/>
                    <a:gd name="T114" fmla="*/ 84 w 2099"/>
                    <a:gd name="T115" fmla="*/ 3 h 586"/>
                    <a:gd name="T116" fmla="*/ 109 w 2099"/>
                    <a:gd name="T117" fmla="*/ 0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99" h="586">
                      <a:moveTo>
                        <a:pt x="1337" y="293"/>
                      </a:moveTo>
                      <a:lnTo>
                        <a:pt x="1337" y="451"/>
                      </a:lnTo>
                      <a:lnTo>
                        <a:pt x="1812" y="451"/>
                      </a:lnTo>
                      <a:lnTo>
                        <a:pt x="1812" y="293"/>
                      </a:lnTo>
                      <a:lnTo>
                        <a:pt x="1337" y="293"/>
                      </a:lnTo>
                      <a:close/>
                      <a:moveTo>
                        <a:pt x="196" y="123"/>
                      </a:moveTo>
                      <a:lnTo>
                        <a:pt x="175" y="127"/>
                      </a:lnTo>
                      <a:lnTo>
                        <a:pt x="156" y="136"/>
                      </a:lnTo>
                      <a:lnTo>
                        <a:pt x="142" y="151"/>
                      </a:lnTo>
                      <a:lnTo>
                        <a:pt x="133" y="169"/>
                      </a:lnTo>
                      <a:lnTo>
                        <a:pt x="129" y="191"/>
                      </a:lnTo>
                      <a:lnTo>
                        <a:pt x="133" y="212"/>
                      </a:lnTo>
                      <a:lnTo>
                        <a:pt x="142" y="231"/>
                      </a:lnTo>
                      <a:lnTo>
                        <a:pt x="156" y="245"/>
                      </a:lnTo>
                      <a:lnTo>
                        <a:pt x="175" y="254"/>
                      </a:lnTo>
                      <a:lnTo>
                        <a:pt x="196" y="258"/>
                      </a:lnTo>
                      <a:lnTo>
                        <a:pt x="218" y="254"/>
                      </a:lnTo>
                      <a:lnTo>
                        <a:pt x="237" y="245"/>
                      </a:lnTo>
                      <a:lnTo>
                        <a:pt x="251" y="231"/>
                      </a:lnTo>
                      <a:lnTo>
                        <a:pt x="260" y="212"/>
                      </a:lnTo>
                      <a:lnTo>
                        <a:pt x="264" y="191"/>
                      </a:lnTo>
                      <a:lnTo>
                        <a:pt x="260" y="169"/>
                      </a:lnTo>
                      <a:lnTo>
                        <a:pt x="251" y="151"/>
                      </a:lnTo>
                      <a:lnTo>
                        <a:pt x="237" y="136"/>
                      </a:lnTo>
                      <a:lnTo>
                        <a:pt x="218" y="127"/>
                      </a:lnTo>
                      <a:lnTo>
                        <a:pt x="196" y="123"/>
                      </a:lnTo>
                      <a:close/>
                      <a:moveTo>
                        <a:pt x="109" y="0"/>
                      </a:moveTo>
                      <a:lnTo>
                        <a:pt x="1991" y="0"/>
                      </a:lnTo>
                      <a:lnTo>
                        <a:pt x="2016" y="3"/>
                      </a:lnTo>
                      <a:lnTo>
                        <a:pt x="2038" y="12"/>
                      </a:lnTo>
                      <a:lnTo>
                        <a:pt x="2058" y="24"/>
                      </a:lnTo>
                      <a:lnTo>
                        <a:pt x="2075" y="41"/>
                      </a:lnTo>
                      <a:lnTo>
                        <a:pt x="2088" y="61"/>
                      </a:lnTo>
                      <a:lnTo>
                        <a:pt x="2096" y="83"/>
                      </a:lnTo>
                      <a:lnTo>
                        <a:pt x="2099" y="108"/>
                      </a:lnTo>
                      <a:lnTo>
                        <a:pt x="2099" y="478"/>
                      </a:lnTo>
                      <a:lnTo>
                        <a:pt x="2096" y="503"/>
                      </a:lnTo>
                      <a:lnTo>
                        <a:pt x="2088" y="526"/>
                      </a:lnTo>
                      <a:lnTo>
                        <a:pt x="2075" y="546"/>
                      </a:lnTo>
                      <a:lnTo>
                        <a:pt x="2058" y="563"/>
                      </a:lnTo>
                      <a:lnTo>
                        <a:pt x="2038" y="576"/>
                      </a:lnTo>
                      <a:lnTo>
                        <a:pt x="2016" y="584"/>
                      </a:lnTo>
                      <a:lnTo>
                        <a:pt x="1991" y="586"/>
                      </a:lnTo>
                      <a:lnTo>
                        <a:pt x="109" y="586"/>
                      </a:lnTo>
                      <a:lnTo>
                        <a:pt x="84" y="584"/>
                      </a:lnTo>
                      <a:lnTo>
                        <a:pt x="62" y="576"/>
                      </a:lnTo>
                      <a:lnTo>
                        <a:pt x="40" y="563"/>
                      </a:lnTo>
                      <a:lnTo>
                        <a:pt x="24" y="546"/>
                      </a:lnTo>
                      <a:lnTo>
                        <a:pt x="11" y="526"/>
                      </a:lnTo>
                      <a:lnTo>
                        <a:pt x="3" y="503"/>
                      </a:lnTo>
                      <a:lnTo>
                        <a:pt x="0" y="478"/>
                      </a:lnTo>
                      <a:lnTo>
                        <a:pt x="0" y="108"/>
                      </a:lnTo>
                      <a:lnTo>
                        <a:pt x="3" y="83"/>
                      </a:lnTo>
                      <a:lnTo>
                        <a:pt x="11" y="61"/>
                      </a:lnTo>
                      <a:lnTo>
                        <a:pt x="24" y="41"/>
                      </a:lnTo>
                      <a:lnTo>
                        <a:pt x="40" y="24"/>
                      </a:lnTo>
                      <a:lnTo>
                        <a:pt x="62" y="12"/>
                      </a:lnTo>
                      <a:lnTo>
                        <a:pt x="84" y="3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" name="Freeform 44"/>
                <p:cNvSpPr>
                  <a:spLocks/>
                </p:cNvSpPr>
                <p:nvPr/>
              </p:nvSpPr>
              <p:spPr bwMode="auto">
                <a:xfrm>
                  <a:off x="-1036" y="2793"/>
                  <a:ext cx="342" cy="115"/>
                </a:xfrm>
                <a:custGeom>
                  <a:avLst/>
                  <a:gdLst>
                    <a:gd name="T0" fmla="*/ 903 w 2053"/>
                    <a:gd name="T1" fmla="*/ 0 h 692"/>
                    <a:gd name="T2" fmla="*/ 1151 w 2053"/>
                    <a:gd name="T3" fmla="*/ 0 h 692"/>
                    <a:gd name="T4" fmla="*/ 1151 w 2053"/>
                    <a:gd name="T5" fmla="*/ 291 h 692"/>
                    <a:gd name="T6" fmla="*/ 1352 w 2053"/>
                    <a:gd name="T7" fmla="*/ 291 h 692"/>
                    <a:gd name="T8" fmla="*/ 1352 w 2053"/>
                    <a:gd name="T9" fmla="*/ 368 h 692"/>
                    <a:gd name="T10" fmla="*/ 2053 w 2053"/>
                    <a:gd name="T11" fmla="*/ 368 h 692"/>
                    <a:gd name="T12" fmla="*/ 2053 w 2053"/>
                    <a:gd name="T13" fmla="*/ 615 h 692"/>
                    <a:gd name="T14" fmla="*/ 1352 w 2053"/>
                    <a:gd name="T15" fmla="*/ 615 h 692"/>
                    <a:gd name="T16" fmla="*/ 1352 w 2053"/>
                    <a:gd name="T17" fmla="*/ 692 h 692"/>
                    <a:gd name="T18" fmla="*/ 702 w 2053"/>
                    <a:gd name="T19" fmla="*/ 692 h 692"/>
                    <a:gd name="T20" fmla="*/ 702 w 2053"/>
                    <a:gd name="T21" fmla="*/ 615 h 692"/>
                    <a:gd name="T22" fmla="*/ 0 w 2053"/>
                    <a:gd name="T23" fmla="*/ 615 h 692"/>
                    <a:gd name="T24" fmla="*/ 0 w 2053"/>
                    <a:gd name="T25" fmla="*/ 368 h 692"/>
                    <a:gd name="T26" fmla="*/ 702 w 2053"/>
                    <a:gd name="T27" fmla="*/ 368 h 692"/>
                    <a:gd name="T28" fmla="*/ 702 w 2053"/>
                    <a:gd name="T29" fmla="*/ 291 h 692"/>
                    <a:gd name="T30" fmla="*/ 903 w 2053"/>
                    <a:gd name="T31" fmla="*/ 291 h 692"/>
                    <a:gd name="T32" fmla="*/ 903 w 2053"/>
                    <a:gd name="T33" fmla="*/ 0 h 6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53" h="692">
                      <a:moveTo>
                        <a:pt x="903" y="0"/>
                      </a:moveTo>
                      <a:lnTo>
                        <a:pt x="1151" y="0"/>
                      </a:lnTo>
                      <a:lnTo>
                        <a:pt x="1151" y="291"/>
                      </a:lnTo>
                      <a:lnTo>
                        <a:pt x="1352" y="291"/>
                      </a:lnTo>
                      <a:lnTo>
                        <a:pt x="1352" y="368"/>
                      </a:lnTo>
                      <a:lnTo>
                        <a:pt x="2053" y="368"/>
                      </a:lnTo>
                      <a:lnTo>
                        <a:pt x="2053" y="615"/>
                      </a:lnTo>
                      <a:lnTo>
                        <a:pt x="1352" y="615"/>
                      </a:lnTo>
                      <a:lnTo>
                        <a:pt x="1352" y="692"/>
                      </a:lnTo>
                      <a:lnTo>
                        <a:pt x="702" y="692"/>
                      </a:lnTo>
                      <a:lnTo>
                        <a:pt x="702" y="615"/>
                      </a:lnTo>
                      <a:lnTo>
                        <a:pt x="0" y="615"/>
                      </a:lnTo>
                      <a:lnTo>
                        <a:pt x="0" y="368"/>
                      </a:lnTo>
                      <a:lnTo>
                        <a:pt x="702" y="368"/>
                      </a:lnTo>
                      <a:lnTo>
                        <a:pt x="702" y="291"/>
                      </a:lnTo>
                      <a:lnTo>
                        <a:pt x="903" y="291"/>
                      </a:lnTo>
                      <a:lnTo>
                        <a:pt x="9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45"/>
                <p:cNvSpPr>
                  <a:spLocks/>
                </p:cNvSpPr>
                <p:nvPr/>
              </p:nvSpPr>
              <p:spPr bwMode="auto">
                <a:xfrm>
                  <a:off x="-1173" y="2275"/>
                  <a:ext cx="617" cy="360"/>
                </a:xfrm>
                <a:custGeom>
                  <a:avLst/>
                  <a:gdLst>
                    <a:gd name="T0" fmla="*/ 1806 w 3701"/>
                    <a:gd name="T1" fmla="*/ 27 h 2156"/>
                    <a:gd name="T2" fmla="*/ 2072 w 3701"/>
                    <a:gd name="T3" fmla="*/ 140 h 2156"/>
                    <a:gd name="T4" fmla="*/ 2195 w 3701"/>
                    <a:gd name="T5" fmla="*/ 200 h 2156"/>
                    <a:gd name="T6" fmla="*/ 2449 w 3701"/>
                    <a:gd name="T7" fmla="*/ 226 h 2156"/>
                    <a:gd name="T8" fmla="*/ 2696 w 3701"/>
                    <a:gd name="T9" fmla="*/ 339 h 2156"/>
                    <a:gd name="T10" fmla="*/ 2893 w 3701"/>
                    <a:gd name="T11" fmla="*/ 526 h 2156"/>
                    <a:gd name="T12" fmla="*/ 2961 w 3701"/>
                    <a:gd name="T13" fmla="*/ 564 h 2156"/>
                    <a:gd name="T14" fmla="*/ 3252 w 3701"/>
                    <a:gd name="T15" fmla="*/ 645 h 2156"/>
                    <a:gd name="T16" fmla="*/ 3486 w 3701"/>
                    <a:gd name="T17" fmla="*/ 821 h 2156"/>
                    <a:gd name="T18" fmla="*/ 3643 w 3701"/>
                    <a:gd name="T19" fmla="*/ 1069 h 2156"/>
                    <a:gd name="T20" fmla="*/ 3701 w 3701"/>
                    <a:gd name="T21" fmla="*/ 1367 h 2156"/>
                    <a:gd name="T22" fmla="*/ 3645 w 3701"/>
                    <a:gd name="T23" fmla="*/ 1660 h 2156"/>
                    <a:gd name="T24" fmla="*/ 3494 w 3701"/>
                    <a:gd name="T25" fmla="*/ 1905 h 2156"/>
                    <a:gd name="T26" fmla="*/ 3267 w 3701"/>
                    <a:gd name="T27" fmla="*/ 2081 h 2156"/>
                    <a:gd name="T28" fmla="*/ 3060 w 3701"/>
                    <a:gd name="T29" fmla="*/ 1916 h 2156"/>
                    <a:gd name="T30" fmla="*/ 3097 w 3701"/>
                    <a:gd name="T31" fmla="*/ 1810 h 2156"/>
                    <a:gd name="T32" fmla="*/ 3270 w 3701"/>
                    <a:gd name="T33" fmla="*/ 1677 h 2156"/>
                    <a:gd name="T34" fmla="*/ 3369 w 3701"/>
                    <a:gd name="T35" fmla="*/ 1482 h 2156"/>
                    <a:gd name="T36" fmla="*/ 3370 w 3701"/>
                    <a:gd name="T37" fmla="*/ 1256 h 2156"/>
                    <a:gd name="T38" fmla="*/ 3274 w 3701"/>
                    <a:gd name="T39" fmla="*/ 1062 h 2156"/>
                    <a:gd name="T40" fmla="*/ 3107 w 3701"/>
                    <a:gd name="T41" fmla="*/ 929 h 2156"/>
                    <a:gd name="T42" fmla="*/ 2892 w 3701"/>
                    <a:gd name="T43" fmla="*/ 880 h 2156"/>
                    <a:gd name="T44" fmla="*/ 2762 w 3701"/>
                    <a:gd name="T45" fmla="*/ 868 h 2156"/>
                    <a:gd name="T46" fmla="*/ 2684 w 3701"/>
                    <a:gd name="T47" fmla="*/ 793 h 2156"/>
                    <a:gd name="T48" fmla="*/ 2547 w 3701"/>
                    <a:gd name="T49" fmla="*/ 622 h 2156"/>
                    <a:gd name="T50" fmla="*/ 2353 w 3701"/>
                    <a:gd name="T51" fmla="*/ 529 h 2156"/>
                    <a:gd name="T52" fmla="*/ 2143 w 3701"/>
                    <a:gd name="T53" fmla="*/ 526 h 2156"/>
                    <a:gd name="T54" fmla="*/ 2023 w 3701"/>
                    <a:gd name="T55" fmla="*/ 504 h 2156"/>
                    <a:gd name="T56" fmla="*/ 1860 w 3701"/>
                    <a:gd name="T57" fmla="*/ 384 h 2156"/>
                    <a:gd name="T58" fmla="*/ 1645 w 3701"/>
                    <a:gd name="T59" fmla="*/ 320 h 2156"/>
                    <a:gd name="T60" fmla="*/ 1408 w 3701"/>
                    <a:gd name="T61" fmla="*/ 345 h 2156"/>
                    <a:gd name="T62" fmla="*/ 1202 w 3701"/>
                    <a:gd name="T63" fmla="*/ 460 h 2156"/>
                    <a:gd name="T64" fmla="*/ 1058 w 3701"/>
                    <a:gd name="T65" fmla="*/ 646 h 2156"/>
                    <a:gd name="T66" fmla="*/ 988 w 3701"/>
                    <a:gd name="T67" fmla="*/ 820 h 2156"/>
                    <a:gd name="T68" fmla="*/ 882 w 3701"/>
                    <a:gd name="T69" fmla="*/ 881 h 2156"/>
                    <a:gd name="T70" fmla="*/ 696 w 3701"/>
                    <a:gd name="T71" fmla="*/ 891 h 2156"/>
                    <a:gd name="T72" fmla="*/ 502 w 3701"/>
                    <a:gd name="T73" fmla="*/ 987 h 2156"/>
                    <a:gd name="T74" fmla="*/ 369 w 3701"/>
                    <a:gd name="T75" fmla="*/ 1153 h 2156"/>
                    <a:gd name="T76" fmla="*/ 319 w 3701"/>
                    <a:gd name="T77" fmla="*/ 1367 h 2156"/>
                    <a:gd name="T78" fmla="*/ 371 w 3701"/>
                    <a:gd name="T79" fmla="*/ 1585 h 2156"/>
                    <a:gd name="T80" fmla="*/ 510 w 3701"/>
                    <a:gd name="T81" fmla="*/ 1754 h 2156"/>
                    <a:gd name="T82" fmla="*/ 649 w 3701"/>
                    <a:gd name="T83" fmla="*/ 1859 h 2156"/>
                    <a:gd name="T84" fmla="*/ 570 w 3701"/>
                    <a:gd name="T85" fmla="*/ 2137 h 2156"/>
                    <a:gd name="T86" fmla="*/ 313 w 3701"/>
                    <a:gd name="T87" fmla="*/ 2003 h 2156"/>
                    <a:gd name="T88" fmla="*/ 120 w 3701"/>
                    <a:gd name="T89" fmla="*/ 1789 h 2156"/>
                    <a:gd name="T90" fmla="*/ 15 w 3701"/>
                    <a:gd name="T91" fmla="*/ 1518 h 2156"/>
                    <a:gd name="T92" fmla="*/ 14 w 3701"/>
                    <a:gd name="T93" fmla="*/ 1219 h 2156"/>
                    <a:gd name="T94" fmla="*/ 117 w 3701"/>
                    <a:gd name="T95" fmla="*/ 950 h 2156"/>
                    <a:gd name="T96" fmla="*/ 304 w 3701"/>
                    <a:gd name="T97" fmla="*/ 739 h 2156"/>
                    <a:gd name="T98" fmla="*/ 553 w 3701"/>
                    <a:gd name="T99" fmla="*/ 603 h 2156"/>
                    <a:gd name="T100" fmla="*/ 739 w 3701"/>
                    <a:gd name="T101" fmla="*/ 552 h 2156"/>
                    <a:gd name="T102" fmla="*/ 841 w 3701"/>
                    <a:gd name="T103" fmla="*/ 390 h 2156"/>
                    <a:gd name="T104" fmla="*/ 1040 w 3701"/>
                    <a:gd name="T105" fmla="*/ 182 h 2156"/>
                    <a:gd name="T106" fmla="*/ 1295 w 3701"/>
                    <a:gd name="T107" fmla="*/ 48 h 2156"/>
                    <a:gd name="T108" fmla="*/ 1587 w 3701"/>
                    <a:gd name="T109" fmla="*/ 0 h 2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701" h="2156">
                      <a:moveTo>
                        <a:pt x="1587" y="0"/>
                      </a:moveTo>
                      <a:lnTo>
                        <a:pt x="1662" y="3"/>
                      </a:lnTo>
                      <a:lnTo>
                        <a:pt x="1735" y="11"/>
                      </a:lnTo>
                      <a:lnTo>
                        <a:pt x="1806" y="27"/>
                      </a:lnTo>
                      <a:lnTo>
                        <a:pt x="1876" y="47"/>
                      </a:lnTo>
                      <a:lnTo>
                        <a:pt x="1944" y="71"/>
                      </a:lnTo>
                      <a:lnTo>
                        <a:pt x="2009" y="103"/>
                      </a:lnTo>
                      <a:lnTo>
                        <a:pt x="2072" y="140"/>
                      </a:lnTo>
                      <a:lnTo>
                        <a:pt x="2132" y="181"/>
                      </a:lnTo>
                      <a:lnTo>
                        <a:pt x="2152" y="193"/>
                      </a:lnTo>
                      <a:lnTo>
                        <a:pt x="2172" y="199"/>
                      </a:lnTo>
                      <a:lnTo>
                        <a:pt x="2195" y="200"/>
                      </a:lnTo>
                      <a:lnTo>
                        <a:pt x="2243" y="199"/>
                      </a:lnTo>
                      <a:lnTo>
                        <a:pt x="2313" y="202"/>
                      </a:lnTo>
                      <a:lnTo>
                        <a:pt x="2382" y="210"/>
                      </a:lnTo>
                      <a:lnTo>
                        <a:pt x="2449" y="226"/>
                      </a:lnTo>
                      <a:lnTo>
                        <a:pt x="2514" y="246"/>
                      </a:lnTo>
                      <a:lnTo>
                        <a:pt x="2578" y="272"/>
                      </a:lnTo>
                      <a:lnTo>
                        <a:pt x="2638" y="302"/>
                      </a:lnTo>
                      <a:lnTo>
                        <a:pt x="2696" y="339"/>
                      </a:lnTo>
                      <a:lnTo>
                        <a:pt x="2752" y="379"/>
                      </a:lnTo>
                      <a:lnTo>
                        <a:pt x="2802" y="424"/>
                      </a:lnTo>
                      <a:lnTo>
                        <a:pt x="2850" y="473"/>
                      </a:lnTo>
                      <a:lnTo>
                        <a:pt x="2893" y="526"/>
                      </a:lnTo>
                      <a:lnTo>
                        <a:pt x="2906" y="542"/>
                      </a:lnTo>
                      <a:lnTo>
                        <a:pt x="2923" y="553"/>
                      </a:lnTo>
                      <a:lnTo>
                        <a:pt x="2941" y="560"/>
                      </a:lnTo>
                      <a:lnTo>
                        <a:pt x="2961" y="564"/>
                      </a:lnTo>
                      <a:lnTo>
                        <a:pt x="3038" y="575"/>
                      </a:lnTo>
                      <a:lnTo>
                        <a:pt x="3112" y="592"/>
                      </a:lnTo>
                      <a:lnTo>
                        <a:pt x="3183" y="616"/>
                      </a:lnTo>
                      <a:lnTo>
                        <a:pt x="3252" y="645"/>
                      </a:lnTo>
                      <a:lnTo>
                        <a:pt x="3315" y="682"/>
                      </a:lnTo>
                      <a:lnTo>
                        <a:pt x="3377" y="723"/>
                      </a:lnTo>
                      <a:lnTo>
                        <a:pt x="3434" y="769"/>
                      </a:lnTo>
                      <a:lnTo>
                        <a:pt x="3486" y="821"/>
                      </a:lnTo>
                      <a:lnTo>
                        <a:pt x="3533" y="877"/>
                      </a:lnTo>
                      <a:lnTo>
                        <a:pt x="3575" y="937"/>
                      </a:lnTo>
                      <a:lnTo>
                        <a:pt x="3612" y="1001"/>
                      </a:lnTo>
                      <a:lnTo>
                        <a:pt x="3643" y="1069"/>
                      </a:lnTo>
                      <a:lnTo>
                        <a:pt x="3668" y="1140"/>
                      </a:lnTo>
                      <a:lnTo>
                        <a:pt x="3685" y="1213"/>
                      </a:lnTo>
                      <a:lnTo>
                        <a:pt x="3697" y="1290"/>
                      </a:lnTo>
                      <a:lnTo>
                        <a:pt x="3701" y="1367"/>
                      </a:lnTo>
                      <a:lnTo>
                        <a:pt x="3697" y="1444"/>
                      </a:lnTo>
                      <a:lnTo>
                        <a:pt x="3687" y="1518"/>
                      </a:lnTo>
                      <a:lnTo>
                        <a:pt x="3669" y="1590"/>
                      </a:lnTo>
                      <a:lnTo>
                        <a:pt x="3645" y="1660"/>
                      </a:lnTo>
                      <a:lnTo>
                        <a:pt x="3616" y="1727"/>
                      </a:lnTo>
                      <a:lnTo>
                        <a:pt x="3580" y="1789"/>
                      </a:lnTo>
                      <a:lnTo>
                        <a:pt x="3540" y="1849"/>
                      </a:lnTo>
                      <a:lnTo>
                        <a:pt x="3494" y="1905"/>
                      </a:lnTo>
                      <a:lnTo>
                        <a:pt x="3443" y="1957"/>
                      </a:lnTo>
                      <a:lnTo>
                        <a:pt x="3389" y="2003"/>
                      </a:lnTo>
                      <a:lnTo>
                        <a:pt x="3330" y="2045"/>
                      </a:lnTo>
                      <a:lnTo>
                        <a:pt x="3267" y="2081"/>
                      </a:lnTo>
                      <a:lnTo>
                        <a:pt x="3201" y="2112"/>
                      </a:lnTo>
                      <a:lnTo>
                        <a:pt x="3131" y="2137"/>
                      </a:lnTo>
                      <a:lnTo>
                        <a:pt x="3060" y="2156"/>
                      </a:lnTo>
                      <a:lnTo>
                        <a:pt x="3060" y="1916"/>
                      </a:lnTo>
                      <a:lnTo>
                        <a:pt x="3058" y="1887"/>
                      </a:lnTo>
                      <a:lnTo>
                        <a:pt x="3053" y="1859"/>
                      </a:lnTo>
                      <a:lnTo>
                        <a:pt x="3045" y="1830"/>
                      </a:lnTo>
                      <a:lnTo>
                        <a:pt x="3097" y="1810"/>
                      </a:lnTo>
                      <a:lnTo>
                        <a:pt x="3145" y="1785"/>
                      </a:lnTo>
                      <a:lnTo>
                        <a:pt x="3191" y="1754"/>
                      </a:lnTo>
                      <a:lnTo>
                        <a:pt x="3233" y="1717"/>
                      </a:lnTo>
                      <a:lnTo>
                        <a:pt x="3270" y="1677"/>
                      </a:lnTo>
                      <a:lnTo>
                        <a:pt x="3302" y="1634"/>
                      </a:lnTo>
                      <a:lnTo>
                        <a:pt x="3331" y="1585"/>
                      </a:lnTo>
                      <a:lnTo>
                        <a:pt x="3352" y="1535"/>
                      </a:lnTo>
                      <a:lnTo>
                        <a:pt x="3369" y="1482"/>
                      </a:lnTo>
                      <a:lnTo>
                        <a:pt x="3379" y="1425"/>
                      </a:lnTo>
                      <a:lnTo>
                        <a:pt x="3383" y="1367"/>
                      </a:lnTo>
                      <a:lnTo>
                        <a:pt x="3379" y="1311"/>
                      </a:lnTo>
                      <a:lnTo>
                        <a:pt x="3370" y="1256"/>
                      </a:lnTo>
                      <a:lnTo>
                        <a:pt x="3353" y="1203"/>
                      </a:lnTo>
                      <a:lnTo>
                        <a:pt x="3332" y="1153"/>
                      </a:lnTo>
                      <a:lnTo>
                        <a:pt x="3306" y="1106"/>
                      </a:lnTo>
                      <a:lnTo>
                        <a:pt x="3274" y="1062"/>
                      </a:lnTo>
                      <a:lnTo>
                        <a:pt x="3239" y="1022"/>
                      </a:lnTo>
                      <a:lnTo>
                        <a:pt x="3198" y="987"/>
                      </a:lnTo>
                      <a:lnTo>
                        <a:pt x="3155" y="955"/>
                      </a:lnTo>
                      <a:lnTo>
                        <a:pt x="3107" y="929"/>
                      </a:lnTo>
                      <a:lnTo>
                        <a:pt x="3058" y="908"/>
                      </a:lnTo>
                      <a:lnTo>
                        <a:pt x="3005" y="891"/>
                      </a:lnTo>
                      <a:lnTo>
                        <a:pt x="2949" y="882"/>
                      </a:lnTo>
                      <a:lnTo>
                        <a:pt x="2892" y="880"/>
                      </a:lnTo>
                      <a:lnTo>
                        <a:pt x="2843" y="882"/>
                      </a:lnTo>
                      <a:lnTo>
                        <a:pt x="2815" y="882"/>
                      </a:lnTo>
                      <a:lnTo>
                        <a:pt x="2788" y="877"/>
                      </a:lnTo>
                      <a:lnTo>
                        <a:pt x="2762" y="868"/>
                      </a:lnTo>
                      <a:lnTo>
                        <a:pt x="2737" y="855"/>
                      </a:lnTo>
                      <a:lnTo>
                        <a:pt x="2716" y="837"/>
                      </a:lnTo>
                      <a:lnTo>
                        <a:pt x="2698" y="817"/>
                      </a:lnTo>
                      <a:lnTo>
                        <a:pt x="2684" y="793"/>
                      </a:lnTo>
                      <a:lnTo>
                        <a:pt x="2657" y="743"/>
                      </a:lnTo>
                      <a:lnTo>
                        <a:pt x="2625" y="698"/>
                      </a:lnTo>
                      <a:lnTo>
                        <a:pt x="2588" y="658"/>
                      </a:lnTo>
                      <a:lnTo>
                        <a:pt x="2547" y="622"/>
                      </a:lnTo>
                      <a:lnTo>
                        <a:pt x="2503" y="590"/>
                      </a:lnTo>
                      <a:lnTo>
                        <a:pt x="2456" y="564"/>
                      </a:lnTo>
                      <a:lnTo>
                        <a:pt x="2406" y="544"/>
                      </a:lnTo>
                      <a:lnTo>
                        <a:pt x="2353" y="529"/>
                      </a:lnTo>
                      <a:lnTo>
                        <a:pt x="2299" y="519"/>
                      </a:lnTo>
                      <a:lnTo>
                        <a:pt x="2243" y="516"/>
                      </a:lnTo>
                      <a:lnTo>
                        <a:pt x="2192" y="519"/>
                      </a:lnTo>
                      <a:lnTo>
                        <a:pt x="2143" y="526"/>
                      </a:lnTo>
                      <a:lnTo>
                        <a:pt x="2112" y="530"/>
                      </a:lnTo>
                      <a:lnTo>
                        <a:pt x="2080" y="527"/>
                      </a:lnTo>
                      <a:lnTo>
                        <a:pt x="2051" y="518"/>
                      </a:lnTo>
                      <a:lnTo>
                        <a:pt x="2023" y="504"/>
                      </a:lnTo>
                      <a:lnTo>
                        <a:pt x="1999" y="485"/>
                      </a:lnTo>
                      <a:lnTo>
                        <a:pt x="1956" y="446"/>
                      </a:lnTo>
                      <a:lnTo>
                        <a:pt x="1910" y="413"/>
                      </a:lnTo>
                      <a:lnTo>
                        <a:pt x="1860" y="384"/>
                      </a:lnTo>
                      <a:lnTo>
                        <a:pt x="1809" y="360"/>
                      </a:lnTo>
                      <a:lnTo>
                        <a:pt x="1756" y="341"/>
                      </a:lnTo>
                      <a:lnTo>
                        <a:pt x="1701" y="328"/>
                      </a:lnTo>
                      <a:lnTo>
                        <a:pt x="1645" y="320"/>
                      </a:lnTo>
                      <a:lnTo>
                        <a:pt x="1587" y="318"/>
                      </a:lnTo>
                      <a:lnTo>
                        <a:pt x="1526" y="320"/>
                      </a:lnTo>
                      <a:lnTo>
                        <a:pt x="1466" y="329"/>
                      </a:lnTo>
                      <a:lnTo>
                        <a:pt x="1408" y="345"/>
                      </a:lnTo>
                      <a:lnTo>
                        <a:pt x="1352" y="366"/>
                      </a:lnTo>
                      <a:lnTo>
                        <a:pt x="1299" y="392"/>
                      </a:lnTo>
                      <a:lnTo>
                        <a:pt x="1249" y="424"/>
                      </a:lnTo>
                      <a:lnTo>
                        <a:pt x="1202" y="460"/>
                      </a:lnTo>
                      <a:lnTo>
                        <a:pt x="1159" y="500"/>
                      </a:lnTo>
                      <a:lnTo>
                        <a:pt x="1122" y="545"/>
                      </a:lnTo>
                      <a:lnTo>
                        <a:pt x="1087" y="595"/>
                      </a:lnTo>
                      <a:lnTo>
                        <a:pt x="1058" y="646"/>
                      </a:lnTo>
                      <a:lnTo>
                        <a:pt x="1034" y="703"/>
                      </a:lnTo>
                      <a:lnTo>
                        <a:pt x="1016" y="762"/>
                      </a:lnTo>
                      <a:lnTo>
                        <a:pt x="1006" y="793"/>
                      </a:lnTo>
                      <a:lnTo>
                        <a:pt x="988" y="820"/>
                      </a:lnTo>
                      <a:lnTo>
                        <a:pt x="967" y="842"/>
                      </a:lnTo>
                      <a:lnTo>
                        <a:pt x="942" y="861"/>
                      </a:lnTo>
                      <a:lnTo>
                        <a:pt x="914" y="874"/>
                      </a:lnTo>
                      <a:lnTo>
                        <a:pt x="882" y="881"/>
                      </a:lnTo>
                      <a:lnTo>
                        <a:pt x="850" y="881"/>
                      </a:lnTo>
                      <a:lnTo>
                        <a:pt x="808" y="880"/>
                      </a:lnTo>
                      <a:lnTo>
                        <a:pt x="752" y="882"/>
                      </a:lnTo>
                      <a:lnTo>
                        <a:pt x="696" y="891"/>
                      </a:lnTo>
                      <a:lnTo>
                        <a:pt x="644" y="908"/>
                      </a:lnTo>
                      <a:lnTo>
                        <a:pt x="593" y="929"/>
                      </a:lnTo>
                      <a:lnTo>
                        <a:pt x="546" y="955"/>
                      </a:lnTo>
                      <a:lnTo>
                        <a:pt x="502" y="987"/>
                      </a:lnTo>
                      <a:lnTo>
                        <a:pt x="462" y="1022"/>
                      </a:lnTo>
                      <a:lnTo>
                        <a:pt x="427" y="1062"/>
                      </a:lnTo>
                      <a:lnTo>
                        <a:pt x="396" y="1106"/>
                      </a:lnTo>
                      <a:lnTo>
                        <a:pt x="369" y="1153"/>
                      </a:lnTo>
                      <a:lnTo>
                        <a:pt x="347" y="1203"/>
                      </a:lnTo>
                      <a:lnTo>
                        <a:pt x="332" y="1256"/>
                      </a:lnTo>
                      <a:lnTo>
                        <a:pt x="323" y="1311"/>
                      </a:lnTo>
                      <a:lnTo>
                        <a:pt x="319" y="1367"/>
                      </a:lnTo>
                      <a:lnTo>
                        <a:pt x="323" y="1425"/>
                      </a:lnTo>
                      <a:lnTo>
                        <a:pt x="332" y="1482"/>
                      </a:lnTo>
                      <a:lnTo>
                        <a:pt x="349" y="1535"/>
                      </a:lnTo>
                      <a:lnTo>
                        <a:pt x="371" y="1585"/>
                      </a:lnTo>
                      <a:lnTo>
                        <a:pt x="398" y="1634"/>
                      </a:lnTo>
                      <a:lnTo>
                        <a:pt x="431" y="1677"/>
                      </a:lnTo>
                      <a:lnTo>
                        <a:pt x="468" y="1717"/>
                      </a:lnTo>
                      <a:lnTo>
                        <a:pt x="510" y="1754"/>
                      </a:lnTo>
                      <a:lnTo>
                        <a:pt x="555" y="1785"/>
                      </a:lnTo>
                      <a:lnTo>
                        <a:pt x="604" y="1810"/>
                      </a:lnTo>
                      <a:lnTo>
                        <a:pt x="656" y="1830"/>
                      </a:lnTo>
                      <a:lnTo>
                        <a:pt x="649" y="1859"/>
                      </a:lnTo>
                      <a:lnTo>
                        <a:pt x="643" y="1887"/>
                      </a:lnTo>
                      <a:lnTo>
                        <a:pt x="642" y="1916"/>
                      </a:lnTo>
                      <a:lnTo>
                        <a:pt x="642" y="2156"/>
                      </a:lnTo>
                      <a:lnTo>
                        <a:pt x="570" y="2137"/>
                      </a:lnTo>
                      <a:lnTo>
                        <a:pt x="501" y="2112"/>
                      </a:lnTo>
                      <a:lnTo>
                        <a:pt x="435" y="2081"/>
                      </a:lnTo>
                      <a:lnTo>
                        <a:pt x="372" y="2045"/>
                      </a:lnTo>
                      <a:lnTo>
                        <a:pt x="313" y="2003"/>
                      </a:lnTo>
                      <a:lnTo>
                        <a:pt x="257" y="1957"/>
                      </a:lnTo>
                      <a:lnTo>
                        <a:pt x="208" y="1905"/>
                      </a:lnTo>
                      <a:lnTo>
                        <a:pt x="162" y="1849"/>
                      </a:lnTo>
                      <a:lnTo>
                        <a:pt x="120" y="1789"/>
                      </a:lnTo>
                      <a:lnTo>
                        <a:pt x="85" y="1727"/>
                      </a:lnTo>
                      <a:lnTo>
                        <a:pt x="55" y="1660"/>
                      </a:lnTo>
                      <a:lnTo>
                        <a:pt x="32" y="1590"/>
                      </a:lnTo>
                      <a:lnTo>
                        <a:pt x="15" y="1518"/>
                      </a:lnTo>
                      <a:lnTo>
                        <a:pt x="5" y="1444"/>
                      </a:lnTo>
                      <a:lnTo>
                        <a:pt x="0" y="1367"/>
                      </a:lnTo>
                      <a:lnTo>
                        <a:pt x="3" y="1292"/>
                      </a:lnTo>
                      <a:lnTo>
                        <a:pt x="14" y="1219"/>
                      </a:lnTo>
                      <a:lnTo>
                        <a:pt x="31" y="1147"/>
                      </a:lnTo>
                      <a:lnTo>
                        <a:pt x="54" y="1079"/>
                      </a:lnTo>
                      <a:lnTo>
                        <a:pt x="83" y="1013"/>
                      </a:lnTo>
                      <a:lnTo>
                        <a:pt x="117" y="950"/>
                      </a:lnTo>
                      <a:lnTo>
                        <a:pt x="157" y="891"/>
                      </a:lnTo>
                      <a:lnTo>
                        <a:pt x="201" y="836"/>
                      </a:lnTo>
                      <a:lnTo>
                        <a:pt x="250" y="785"/>
                      </a:lnTo>
                      <a:lnTo>
                        <a:pt x="304" y="739"/>
                      </a:lnTo>
                      <a:lnTo>
                        <a:pt x="360" y="697"/>
                      </a:lnTo>
                      <a:lnTo>
                        <a:pt x="422" y="661"/>
                      </a:lnTo>
                      <a:lnTo>
                        <a:pt x="486" y="629"/>
                      </a:lnTo>
                      <a:lnTo>
                        <a:pt x="553" y="603"/>
                      </a:lnTo>
                      <a:lnTo>
                        <a:pt x="623" y="583"/>
                      </a:lnTo>
                      <a:lnTo>
                        <a:pt x="696" y="570"/>
                      </a:lnTo>
                      <a:lnTo>
                        <a:pt x="718" y="563"/>
                      </a:lnTo>
                      <a:lnTo>
                        <a:pt x="739" y="552"/>
                      </a:lnTo>
                      <a:lnTo>
                        <a:pt x="755" y="537"/>
                      </a:lnTo>
                      <a:lnTo>
                        <a:pt x="768" y="517"/>
                      </a:lnTo>
                      <a:lnTo>
                        <a:pt x="802" y="452"/>
                      </a:lnTo>
                      <a:lnTo>
                        <a:pt x="841" y="390"/>
                      </a:lnTo>
                      <a:lnTo>
                        <a:pt x="884" y="332"/>
                      </a:lnTo>
                      <a:lnTo>
                        <a:pt x="932" y="278"/>
                      </a:lnTo>
                      <a:lnTo>
                        <a:pt x="984" y="228"/>
                      </a:lnTo>
                      <a:lnTo>
                        <a:pt x="1040" y="182"/>
                      </a:lnTo>
                      <a:lnTo>
                        <a:pt x="1099" y="141"/>
                      </a:lnTo>
                      <a:lnTo>
                        <a:pt x="1162" y="106"/>
                      </a:lnTo>
                      <a:lnTo>
                        <a:pt x="1227" y="74"/>
                      </a:lnTo>
                      <a:lnTo>
                        <a:pt x="1295" y="48"/>
                      </a:lnTo>
                      <a:lnTo>
                        <a:pt x="1365" y="27"/>
                      </a:lnTo>
                      <a:lnTo>
                        <a:pt x="1437" y="13"/>
                      </a:lnTo>
                      <a:lnTo>
                        <a:pt x="1512" y="3"/>
                      </a:lnTo>
                      <a:lnTo>
                        <a:pt x="158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6" name="Group 48"/>
              <p:cNvGrpSpPr>
                <a:grpSpLocks noChangeAspect="1"/>
              </p:cNvGrpSpPr>
              <p:nvPr/>
            </p:nvGrpSpPr>
            <p:grpSpPr bwMode="auto">
              <a:xfrm>
                <a:off x="3278438" y="3607812"/>
                <a:ext cx="611932" cy="541818"/>
                <a:chOff x="-1883" y="1872"/>
                <a:chExt cx="2243" cy="1986"/>
              </a:xfrm>
              <a:solidFill>
                <a:schemeClr val="bg1"/>
              </a:solidFill>
            </p:grpSpPr>
            <p:sp>
              <p:nvSpPr>
                <p:cNvPr id="27" name="Freeform 50"/>
                <p:cNvSpPr>
                  <a:spLocks/>
                </p:cNvSpPr>
                <p:nvPr/>
              </p:nvSpPr>
              <p:spPr bwMode="auto">
                <a:xfrm>
                  <a:off x="-229" y="3019"/>
                  <a:ext cx="377" cy="527"/>
                </a:xfrm>
                <a:custGeom>
                  <a:avLst/>
                  <a:gdLst>
                    <a:gd name="T0" fmla="*/ 533 w 754"/>
                    <a:gd name="T1" fmla="*/ 0 h 1055"/>
                    <a:gd name="T2" fmla="*/ 570 w 754"/>
                    <a:gd name="T3" fmla="*/ 36 h 1055"/>
                    <a:gd name="T4" fmla="*/ 611 w 754"/>
                    <a:gd name="T5" fmla="*/ 66 h 1055"/>
                    <a:gd name="T6" fmla="*/ 656 w 754"/>
                    <a:gd name="T7" fmla="*/ 92 h 1055"/>
                    <a:gd name="T8" fmla="*/ 704 w 754"/>
                    <a:gd name="T9" fmla="*/ 113 h 1055"/>
                    <a:gd name="T10" fmla="*/ 754 w 754"/>
                    <a:gd name="T11" fmla="*/ 128 h 1055"/>
                    <a:gd name="T12" fmla="*/ 220 w 754"/>
                    <a:gd name="T13" fmla="*/ 1055 h 1055"/>
                    <a:gd name="T14" fmla="*/ 183 w 754"/>
                    <a:gd name="T15" fmla="*/ 1019 h 1055"/>
                    <a:gd name="T16" fmla="*/ 142 w 754"/>
                    <a:gd name="T17" fmla="*/ 988 h 1055"/>
                    <a:gd name="T18" fmla="*/ 98 w 754"/>
                    <a:gd name="T19" fmla="*/ 961 h 1055"/>
                    <a:gd name="T20" fmla="*/ 51 w 754"/>
                    <a:gd name="T21" fmla="*/ 939 h 1055"/>
                    <a:gd name="T22" fmla="*/ 0 w 754"/>
                    <a:gd name="T23" fmla="*/ 924 h 1055"/>
                    <a:gd name="T24" fmla="*/ 533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533" y="0"/>
                      </a:moveTo>
                      <a:lnTo>
                        <a:pt x="570" y="36"/>
                      </a:lnTo>
                      <a:lnTo>
                        <a:pt x="611" y="66"/>
                      </a:lnTo>
                      <a:lnTo>
                        <a:pt x="656" y="92"/>
                      </a:lnTo>
                      <a:lnTo>
                        <a:pt x="704" y="113"/>
                      </a:lnTo>
                      <a:lnTo>
                        <a:pt x="754" y="128"/>
                      </a:lnTo>
                      <a:lnTo>
                        <a:pt x="220" y="1055"/>
                      </a:lnTo>
                      <a:lnTo>
                        <a:pt x="183" y="1019"/>
                      </a:lnTo>
                      <a:lnTo>
                        <a:pt x="142" y="988"/>
                      </a:lnTo>
                      <a:lnTo>
                        <a:pt x="98" y="961"/>
                      </a:lnTo>
                      <a:lnTo>
                        <a:pt x="51" y="939"/>
                      </a:lnTo>
                      <a:lnTo>
                        <a:pt x="0" y="924"/>
                      </a:lnTo>
                      <a:lnTo>
                        <a:pt x="53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" name="Freeform 51"/>
                <p:cNvSpPr>
                  <a:spLocks/>
                </p:cNvSpPr>
                <p:nvPr/>
              </p:nvSpPr>
              <p:spPr bwMode="auto">
                <a:xfrm>
                  <a:off x="-1671" y="2184"/>
                  <a:ext cx="377" cy="527"/>
                </a:xfrm>
                <a:custGeom>
                  <a:avLst/>
                  <a:gdLst>
                    <a:gd name="T0" fmla="*/ 535 w 754"/>
                    <a:gd name="T1" fmla="*/ 0 h 1055"/>
                    <a:gd name="T2" fmla="*/ 571 w 754"/>
                    <a:gd name="T3" fmla="*/ 36 h 1055"/>
                    <a:gd name="T4" fmla="*/ 612 w 754"/>
                    <a:gd name="T5" fmla="*/ 67 h 1055"/>
                    <a:gd name="T6" fmla="*/ 657 w 754"/>
                    <a:gd name="T7" fmla="*/ 94 h 1055"/>
                    <a:gd name="T8" fmla="*/ 705 w 754"/>
                    <a:gd name="T9" fmla="*/ 116 h 1055"/>
                    <a:gd name="T10" fmla="*/ 754 w 754"/>
                    <a:gd name="T11" fmla="*/ 131 h 1055"/>
                    <a:gd name="T12" fmla="*/ 222 w 754"/>
                    <a:gd name="T13" fmla="*/ 1055 h 1055"/>
                    <a:gd name="T14" fmla="*/ 184 w 754"/>
                    <a:gd name="T15" fmla="*/ 1019 h 1055"/>
                    <a:gd name="T16" fmla="*/ 143 w 754"/>
                    <a:gd name="T17" fmla="*/ 989 h 1055"/>
                    <a:gd name="T18" fmla="*/ 98 w 754"/>
                    <a:gd name="T19" fmla="*/ 963 h 1055"/>
                    <a:gd name="T20" fmla="*/ 51 w 754"/>
                    <a:gd name="T21" fmla="*/ 942 h 1055"/>
                    <a:gd name="T22" fmla="*/ 0 w 754"/>
                    <a:gd name="T23" fmla="*/ 927 h 1055"/>
                    <a:gd name="T24" fmla="*/ 535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535" y="0"/>
                      </a:moveTo>
                      <a:lnTo>
                        <a:pt x="571" y="36"/>
                      </a:lnTo>
                      <a:lnTo>
                        <a:pt x="612" y="67"/>
                      </a:lnTo>
                      <a:lnTo>
                        <a:pt x="657" y="94"/>
                      </a:lnTo>
                      <a:lnTo>
                        <a:pt x="705" y="116"/>
                      </a:lnTo>
                      <a:lnTo>
                        <a:pt x="754" y="131"/>
                      </a:lnTo>
                      <a:lnTo>
                        <a:pt x="222" y="1055"/>
                      </a:lnTo>
                      <a:lnTo>
                        <a:pt x="184" y="1019"/>
                      </a:lnTo>
                      <a:lnTo>
                        <a:pt x="143" y="989"/>
                      </a:lnTo>
                      <a:lnTo>
                        <a:pt x="98" y="963"/>
                      </a:lnTo>
                      <a:lnTo>
                        <a:pt x="51" y="942"/>
                      </a:lnTo>
                      <a:lnTo>
                        <a:pt x="0" y="927"/>
                      </a:lnTo>
                      <a:lnTo>
                        <a:pt x="53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52"/>
                <p:cNvSpPr>
                  <a:spLocks/>
                </p:cNvSpPr>
                <p:nvPr/>
              </p:nvSpPr>
              <p:spPr bwMode="auto">
                <a:xfrm>
                  <a:off x="-229" y="2184"/>
                  <a:ext cx="377" cy="527"/>
                </a:xfrm>
                <a:custGeom>
                  <a:avLst/>
                  <a:gdLst>
                    <a:gd name="T0" fmla="*/ 220 w 754"/>
                    <a:gd name="T1" fmla="*/ 0 h 1055"/>
                    <a:gd name="T2" fmla="*/ 754 w 754"/>
                    <a:gd name="T3" fmla="*/ 927 h 1055"/>
                    <a:gd name="T4" fmla="*/ 704 w 754"/>
                    <a:gd name="T5" fmla="*/ 942 h 1055"/>
                    <a:gd name="T6" fmla="*/ 656 w 754"/>
                    <a:gd name="T7" fmla="*/ 963 h 1055"/>
                    <a:gd name="T8" fmla="*/ 611 w 754"/>
                    <a:gd name="T9" fmla="*/ 989 h 1055"/>
                    <a:gd name="T10" fmla="*/ 570 w 754"/>
                    <a:gd name="T11" fmla="*/ 1019 h 1055"/>
                    <a:gd name="T12" fmla="*/ 533 w 754"/>
                    <a:gd name="T13" fmla="*/ 1055 h 1055"/>
                    <a:gd name="T14" fmla="*/ 0 w 754"/>
                    <a:gd name="T15" fmla="*/ 131 h 1055"/>
                    <a:gd name="T16" fmla="*/ 51 w 754"/>
                    <a:gd name="T17" fmla="*/ 116 h 1055"/>
                    <a:gd name="T18" fmla="*/ 98 w 754"/>
                    <a:gd name="T19" fmla="*/ 94 h 1055"/>
                    <a:gd name="T20" fmla="*/ 142 w 754"/>
                    <a:gd name="T21" fmla="*/ 67 h 1055"/>
                    <a:gd name="T22" fmla="*/ 183 w 754"/>
                    <a:gd name="T23" fmla="*/ 36 h 1055"/>
                    <a:gd name="T24" fmla="*/ 220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220" y="0"/>
                      </a:moveTo>
                      <a:lnTo>
                        <a:pt x="754" y="927"/>
                      </a:lnTo>
                      <a:lnTo>
                        <a:pt x="704" y="942"/>
                      </a:lnTo>
                      <a:lnTo>
                        <a:pt x="656" y="963"/>
                      </a:lnTo>
                      <a:lnTo>
                        <a:pt x="611" y="989"/>
                      </a:lnTo>
                      <a:lnTo>
                        <a:pt x="570" y="1019"/>
                      </a:lnTo>
                      <a:lnTo>
                        <a:pt x="533" y="1055"/>
                      </a:lnTo>
                      <a:lnTo>
                        <a:pt x="0" y="131"/>
                      </a:lnTo>
                      <a:lnTo>
                        <a:pt x="51" y="116"/>
                      </a:lnTo>
                      <a:lnTo>
                        <a:pt x="98" y="94"/>
                      </a:lnTo>
                      <a:lnTo>
                        <a:pt x="142" y="67"/>
                      </a:lnTo>
                      <a:lnTo>
                        <a:pt x="183" y="36"/>
                      </a:lnTo>
                      <a:lnTo>
                        <a:pt x="2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" name="Freeform 53"/>
                <p:cNvSpPr>
                  <a:spLocks/>
                </p:cNvSpPr>
                <p:nvPr/>
              </p:nvSpPr>
              <p:spPr bwMode="auto">
                <a:xfrm>
                  <a:off x="-1671" y="3019"/>
                  <a:ext cx="377" cy="527"/>
                </a:xfrm>
                <a:custGeom>
                  <a:avLst/>
                  <a:gdLst>
                    <a:gd name="T0" fmla="*/ 222 w 754"/>
                    <a:gd name="T1" fmla="*/ 0 h 1055"/>
                    <a:gd name="T2" fmla="*/ 754 w 754"/>
                    <a:gd name="T3" fmla="*/ 924 h 1055"/>
                    <a:gd name="T4" fmla="*/ 705 w 754"/>
                    <a:gd name="T5" fmla="*/ 939 h 1055"/>
                    <a:gd name="T6" fmla="*/ 657 w 754"/>
                    <a:gd name="T7" fmla="*/ 961 h 1055"/>
                    <a:gd name="T8" fmla="*/ 612 w 754"/>
                    <a:gd name="T9" fmla="*/ 988 h 1055"/>
                    <a:gd name="T10" fmla="*/ 571 w 754"/>
                    <a:gd name="T11" fmla="*/ 1019 h 1055"/>
                    <a:gd name="T12" fmla="*/ 535 w 754"/>
                    <a:gd name="T13" fmla="*/ 1055 h 1055"/>
                    <a:gd name="T14" fmla="*/ 0 w 754"/>
                    <a:gd name="T15" fmla="*/ 128 h 1055"/>
                    <a:gd name="T16" fmla="*/ 51 w 754"/>
                    <a:gd name="T17" fmla="*/ 113 h 1055"/>
                    <a:gd name="T18" fmla="*/ 98 w 754"/>
                    <a:gd name="T19" fmla="*/ 92 h 1055"/>
                    <a:gd name="T20" fmla="*/ 143 w 754"/>
                    <a:gd name="T21" fmla="*/ 66 h 1055"/>
                    <a:gd name="T22" fmla="*/ 184 w 754"/>
                    <a:gd name="T23" fmla="*/ 36 h 1055"/>
                    <a:gd name="T24" fmla="*/ 222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222" y="0"/>
                      </a:moveTo>
                      <a:lnTo>
                        <a:pt x="754" y="924"/>
                      </a:lnTo>
                      <a:lnTo>
                        <a:pt x="705" y="939"/>
                      </a:lnTo>
                      <a:lnTo>
                        <a:pt x="657" y="961"/>
                      </a:lnTo>
                      <a:lnTo>
                        <a:pt x="612" y="988"/>
                      </a:lnTo>
                      <a:lnTo>
                        <a:pt x="571" y="1019"/>
                      </a:lnTo>
                      <a:lnTo>
                        <a:pt x="535" y="1055"/>
                      </a:lnTo>
                      <a:lnTo>
                        <a:pt x="0" y="128"/>
                      </a:lnTo>
                      <a:lnTo>
                        <a:pt x="51" y="113"/>
                      </a:lnTo>
                      <a:lnTo>
                        <a:pt x="98" y="92"/>
                      </a:lnTo>
                      <a:lnTo>
                        <a:pt x="143" y="66"/>
                      </a:lnTo>
                      <a:lnTo>
                        <a:pt x="184" y="36"/>
                      </a:lnTo>
                      <a:lnTo>
                        <a:pt x="2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54"/>
                <p:cNvSpPr>
                  <a:spLocks noEditPoints="1"/>
                </p:cNvSpPr>
                <p:nvPr/>
              </p:nvSpPr>
              <p:spPr bwMode="auto">
                <a:xfrm>
                  <a:off x="-1528" y="1968"/>
                  <a:ext cx="1534" cy="1794"/>
                </a:xfrm>
                <a:custGeom>
                  <a:avLst/>
                  <a:gdLst>
                    <a:gd name="T0" fmla="*/ 2006 w 3070"/>
                    <a:gd name="T1" fmla="*/ 3331 h 3588"/>
                    <a:gd name="T2" fmla="*/ 1193 w 3070"/>
                    <a:gd name="T3" fmla="*/ 2571 h 3588"/>
                    <a:gd name="T4" fmla="*/ 1531 w 3070"/>
                    <a:gd name="T5" fmla="*/ 1980 h 3588"/>
                    <a:gd name="T6" fmla="*/ 2910 w 3070"/>
                    <a:gd name="T7" fmla="*/ 1889 h 3588"/>
                    <a:gd name="T8" fmla="*/ 2033 w 3070"/>
                    <a:gd name="T9" fmla="*/ 2464 h 3588"/>
                    <a:gd name="T10" fmla="*/ 1702 w 3070"/>
                    <a:gd name="T11" fmla="*/ 1889 h 3588"/>
                    <a:gd name="T12" fmla="*/ 1032 w 3070"/>
                    <a:gd name="T13" fmla="*/ 2465 h 3588"/>
                    <a:gd name="T14" fmla="*/ 153 w 3070"/>
                    <a:gd name="T15" fmla="*/ 1889 h 3588"/>
                    <a:gd name="T16" fmla="*/ 153 w 3070"/>
                    <a:gd name="T17" fmla="*/ 1889 h 3588"/>
                    <a:gd name="T18" fmla="*/ 2910 w 3070"/>
                    <a:gd name="T19" fmla="*/ 1699 h 3588"/>
                    <a:gd name="T20" fmla="*/ 153 w 3070"/>
                    <a:gd name="T21" fmla="*/ 1699 h 3588"/>
                    <a:gd name="T22" fmla="*/ 1035 w 3070"/>
                    <a:gd name="T23" fmla="*/ 1120 h 3588"/>
                    <a:gd name="T24" fmla="*/ 1369 w 3070"/>
                    <a:gd name="T25" fmla="*/ 1699 h 3588"/>
                    <a:gd name="T26" fmla="*/ 1692 w 3070"/>
                    <a:gd name="T27" fmla="*/ 1699 h 3588"/>
                    <a:gd name="T28" fmla="*/ 2024 w 3070"/>
                    <a:gd name="T29" fmla="*/ 1119 h 3588"/>
                    <a:gd name="T30" fmla="*/ 1530 w 3070"/>
                    <a:gd name="T31" fmla="*/ 1593 h 3588"/>
                    <a:gd name="T32" fmla="*/ 1057 w 3070"/>
                    <a:gd name="T33" fmla="*/ 257 h 3588"/>
                    <a:gd name="T34" fmla="*/ 1057 w 3070"/>
                    <a:gd name="T35" fmla="*/ 257 h 3588"/>
                    <a:gd name="T36" fmla="*/ 2050 w 3070"/>
                    <a:gd name="T37" fmla="*/ 41 h 3588"/>
                    <a:gd name="T38" fmla="*/ 2046 w 3070"/>
                    <a:gd name="T39" fmla="*/ 189 h 3588"/>
                    <a:gd name="T40" fmla="*/ 2103 w 3070"/>
                    <a:gd name="T41" fmla="*/ 354 h 3588"/>
                    <a:gd name="T42" fmla="*/ 1958 w 3070"/>
                    <a:gd name="T43" fmla="*/ 846 h 3588"/>
                    <a:gd name="T44" fmla="*/ 2258 w 3070"/>
                    <a:gd name="T45" fmla="*/ 512 h 3588"/>
                    <a:gd name="T46" fmla="*/ 2119 w 3070"/>
                    <a:gd name="T47" fmla="*/ 951 h 3588"/>
                    <a:gd name="T48" fmla="*/ 2441 w 3070"/>
                    <a:gd name="T49" fmla="*/ 575 h 3588"/>
                    <a:gd name="T50" fmla="*/ 2587 w 3070"/>
                    <a:gd name="T51" fmla="*/ 566 h 3588"/>
                    <a:gd name="T52" fmla="*/ 3044 w 3070"/>
                    <a:gd name="T53" fmla="*/ 1623 h 3588"/>
                    <a:gd name="T54" fmla="*/ 3011 w 3070"/>
                    <a:gd name="T55" fmla="*/ 1794 h 3588"/>
                    <a:gd name="T56" fmla="*/ 3044 w 3070"/>
                    <a:gd name="T57" fmla="*/ 1965 h 3588"/>
                    <a:gd name="T58" fmla="*/ 2587 w 3070"/>
                    <a:gd name="T59" fmla="*/ 3022 h 3588"/>
                    <a:gd name="T60" fmla="*/ 2441 w 3070"/>
                    <a:gd name="T61" fmla="*/ 3013 h 3588"/>
                    <a:gd name="T62" fmla="*/ 2129 w 3070"/>
                    <a:gd name="T63" fmla="*/ 2630 h 3588"/>
                    <a:gd name="T64" fmla="*/ 2271 w 3070"/>
                    <a:gd name="T65" fmla="*/ 3069 h 3588"/>
                    <a:gd name="T66" fmla="*/ 1968 w 3070"/>
                    <a:gd name="T67" fmla="*/ 2735 h 3588"/>
                    <a:gd name="T68" fmla="*/ 2103 w 3070"/>
                    <a:gd name="T69" fmla="*/ 3234 h 3588"/>
                    <a:gd name="T70" fmla="*/ 2046 w 3070"/>
                    <a:gd name="T71" fmla="*/ 3399 h 3588"/>
                    <a:gd name="T72" fmla="*/ 2050 w 3070"/>
                    <a:gd name="T73" fmla="*/ 3547 h 3588"/>
                    <a:gd name="T74" fmla="*/ 1021 w 3070"/>
                    <a:gd name="T75" fmla="*/ 3547 h 3588"/>
                    <a:gd name="T76" fmla="*/ 1026 w 3070"/>
                    <a:gd name="T77" fmla="*/ 3398 h 3588"/>
                    <a:gd name="T78" fmla="*/ 967 w 3070"/>
                    <a:gd name="T79" fmla="*/ 3230 h 3588"/>
                    <a:gd name="T80" fmla="*/ 1098 w 3070"/>
                    <a:gd name="T81" fmla="*/ 2738 h 3588"/>
                    <a:gd name="T82" fmla="*/ 799 w 3070"/>
                    <a:gd name="T83" fmla="*/ 3068 h 3588"/>
                    <a:gd name="T84" fmla="*/ 937 w 3070"/>
                    <a:gd name="T85" fmla="*/ 2633 h 3588"/>
                    <a:gd name="T86" fmla="*/ 625 w 3070"/>
                    <a:gd name="T87" fmla="*/ 3013 h 3588"/>
                    <a:gd name="T88" fmla="*/ 476 w 3070"/>
                    <a:gd name="T89" fmla="*/ 3024 h 3588"/>
                    <a:gd name="T90" fmla="*/ 26 w 3070"/>
                    <a:gd name="T91" fmla="*/ 1969 h 3588"/>
                    <a:gd name="T92" fmla="*/ 61 w 3070"/>
                    <a:gd name="T93" fmla="*/ 1794 h 3588"/>
                    <a:gd name="T94" fmla="*/ 26 w 3070"/>
                    <a:gd name="T95" fmla="*/ 1619 h 3588"/>
                    <a:gd name="T96" fmla="*/ 476 w 3070"/>
                    <a:gd name="T97" fmla="*/ 564 h 3588"/>
                    <a:gd name="T98" fmla="*/ 625 w 3070"/>
                    <a:gd name="T99" fmla="*/ 575 h 3588"/>
                    <a:gd name="T100" fmla="*/ 940 w 3070"/>
                    <a:gd name="T101" fmla="*/ 954 h 3588"/>
                    <a:gd name="T102" fmla="*/ 801 w 3070"/>
                    <a:gd name="T103" fmla="*/ 519 h 3588"/>
                    <a:gd name="T104" fmla="*/ 1101 w 3070"/>
                    <a:gd name="T105" fmla="*/ 847 h 3588"/>
                    <a:gd name="T106" fmla="*/ 967 w 3070"/>
                    <a:gd name="T107" fmla="*/ 358 h 3588"/>
                    <a:gd name="T108" fmla="*/ 1026 w 3070"/>
                    <a:gd name="T109" fmla="*/ 190 h 3588"/>
                    <a:gd name="T110" fmla="*/ 1021 w 3070"/>
                    <a:gd name="T111" fmla="*/ 41 h 3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70" h="3588">
                      <a:moveTo>
                        <a:pt x="1531" y="3022"/>
                      </a:moveTo>
                      <a:lnTo>
                        <a:pt x="1057" y="3331"/>
                      </a:lnTo>
                      <a:lnTo>
                        <a:pt x="2006" y="3331"/>
                      </a:lnTo>
                      <a:lnTo>
                        <a:pt x="1531" y="3022"/>
                      </a:lnTo>
                      <a:close/>
                      <a:moveTo>
                        <a:pt x="1531" y="1980"/>
                      </a:moveTo>
                      <a:lnTo>
                        <a:pt x="1193" y="2571"/>
                      </a:lnTo>
                      <a:lnTo>
                        <a:pt x="1531" y="2792"/>
                      </a:lnTo>
                      <a:lnTo>
                        <a:pt x="1872" y="2569"/>
                      </a:lnTo>
                      <a:lnTo>
                        <a:pt x="1531" y="1980"/>
                      </a:lnTo>
                      <a:close/>
                      <a:moveTo>
                        <a:pt x="2587" y="1889"/>
                      </a:moveTo>
                      <a:lnTo>
                        <a:pt x="2587" y="2102"/>
                      </a:lnTo>
                      <a:lnTo>
                        <a:pt x="2910" y="1889"/>
                      </a:lnTo>
                      <a:lnTo>
                        <a:pt x="2587" y="1889"/>
                      </a:lnTo>
                      <a:close/>
                      <a:moveTo>
                        <a:pt x="1702" y="1889"/>
                      </a:moveTo>
                      <a:lnTo>
                        <a:pt x="2033" y="2464"/>
                      </a:lnTo>
                      <a:lnTo>
                        <a:pt x="2395" y="2228"/>
                      </a:lnTo>
                      <a:lnTo>
                        <a:pt x="2395" y="1889"/>
                      </a:lnTo>
                      <a:lnTo>
                        <a:pt x="1702" y="1889"/>
                      </a:lnTo>
                      <a:close/>
                      <a:moveTo>
                        <a:pt x="668" y="1889"/>
                      </a:moveTo>
                      <a:lnTo>
                        <a:pt x="668" y="2228"/>
                      </a:lnTo>
                      <a:lnTo>
                        <a:pt x="1032" y="2465"/>
                      </a:lnTo>
                      <a:lnTo>
                        <a:pt x="1361" y="1889"/>
                      </a:lnTo>
                      <a:lnTo>
                        <a:pt x="668" y="1889"/>
                      </a:lnTo>
                      <a:close/>
                      <a:moveTo>
                        <a:pt x="153" y="1889"/>
                      </a:moveTo>
                      <a:lnTo>
                        <a:pt x="476" y="2102"/>
                      </a:lnTo>
                      <a:lnTo>
                        <a:pt x="476" y="1889"/>
                      </a:lnTo>
                      <a:lnTo>
                        <a:pt x="153" y="1889"/>
                      </a:lnTo>
                      <a:close/>
                      <a:moveTo>
                        <a:pt x="2587" y="1486"/>
                      </a:moveTo>
                      <a:lnTo>
                        <a:pt x="2587" y="1699"/>
                      </a:lnTo>
                      <a:lnTo>
                        <a:pt x="2910" y="1699"/>
                      </a:lnTo>
                      <a:lnTo>
                        <a:pt x="2587" y="1486"/>
                      </a:lnTo>
                      <a:close/>
                      <a:moveTo>
                        <a:pt x="476" y="1486"/>
                      </a:moveTo>
                      <a:lnTo>
                        <a:pt x="153" y="1699"/>
                      </a:lnTo>
                      <a:lnTo>
                        <a:pt x="476" y="1699"/>
                      </a:lnTo>
                      <a:lnTo>
                        <a:pt x="476" y="1486"/>
                      </a:lnTo>
                      <a:close/>
                      <a:moveTo>
                        <a:pt x="1035" y="1120"/>
                      </a:moveTo>
                      <a:lnTo>
                        <a:pt x="668" y="1360"/>
                      </a:lnTo>
                      <a:lnTo>
                        <a:pt x="668" y="1699"/>
                      </a:lnTo>
                      <a:lnTo>
                        <a:pt x="1369" y="1699"/>
                      </a:lnTo>
                      <a:lnTo>
                        <a:pt x="1035" y="1120"/>
                      </a:lnTo>
                      <a:close/>
                      <a:moveTo>
                        <a:pt x="2024" y="1119"/>
                      </a:moveTo>
                      <a:lnTo>
                        <a:pt x="1692" y="1699"/>
                      </a:lnTo>
                      <a:lnTo>
                        <a:pt x="2395" y="1699"/>
                      </a:lnTo>
                      <a:lnTo>
                        <a:pt x="2395" y="1360"/>
                      </a:lnTo>
                      <a:lnTo>
                        <a:pt x="2024" y="1119"/>
                      </a:lnTo>
                      <a:close/>
                      <a:moveTo>
                        <a:pt x="1531" y="796"/>
                      </a:moveTo>
                      <a:lnTo>
                        <a:pt x="1197" y="1015"/>
                      </a:lnTo>
                      <a:lnTo>
                        <a:pt x="1530" y="1593"/>
                      </a:lnTo>
                      <a:lnTo>
                        <a:pt x="1863" y="1012"/>
                      </a:lnTo>
                      <a:lnTo>
                        <a:pt x="1531" y="796"/>
                      </a:lnTo>
                      <a:close/>
                      <a:moveTo>
                        <a:pt x="1057" y="257"/>
                      </a:moveTo>
                      <a:lnTo>
                        <a:pt x="1531" y="566"/>
                      </a:lnTo>
                      <a:lnTo>
                        <a:pt x="2006" y="257"/>
                      </a:lnTo>
                      <a:lnTo>
                        <a:pt x="1057" y="257"/>
                      </a:lnTo>
                      <a:close/>
                      <a:moveTo>
                        <a:pt x="1011" y="0"/>
                      </a:moveTo>
                      <a:lnTo>
                        <a:pt x="2061" y="0"/>
                      </a:lnTo>
                      <a:lnTo>
                        <a:pt x="2050" y="41"/>
                      </a:lnTo>
                      <a:lnTo>
                        <a:pt x="2044" y="84"/>
                      </a:lnTo>
                      <a:lnTo>
                        <a:pt x="2041" y="129"/>
                      </a:lnTo>
                      <a:lnTo>
                        <a:pt x="2046" y="189"/>
                      </a:lnTo>
                      <a:lnTo>
                        <a:pt x="2058" y="247"/>
                      </a:lnTo>
                      <a:lnTo>
                        <a:pt x="2077" y="302"/>
                      </a:lnTo>
                      <a:lnTo>
                        <a:pt x="2103" y="354"/>
                      </a:lnTo>
                      <a:lnTo>
                        <a:pt x="2134" y="401"/>
                      </a:lnTo>
                      <a:lnTo>
                        <a:pt x="1706" y="681"/>
                      </a:lnTo>
                      <a:lnTo>
                        <a:pt x="1958" y="846"/>
                      </a:lnTo>
                      <a:lnTo>
                        <a:pt x="2182" y="453"/>
                      </a:lnTo>
                      <a:lnTo>
                        <a:pt x="2219" y="485"/>
                      </a:lnTo>
                      <a:lnTo>
                        <a:pt x="2258" y="512"/>
                      </a:lnTo>
                      <a:lnTo>
                        <a:pt x="2302" y="535"/>
                      </a:lnTo>
                      <a:lnTo>
                        <a:pt x="2347" y="553"/>
                      </a:lnTo>
                      <a:lnTo>
                        <a:pt x="2119" y="951"/>
                      </a:lnTo>
                      <a:lnTo>
                        <a:pt x="2395" y="1131"/>
                      </a:lnTo>
                      <a:lnTo>
                        <a:pt x="2395" y="566"/>
                      </a:lnTo>
                      <a:lnTo>
                        <a:pt x="2441" y="575"/>
                      </a:lnTo>
                      <a:lnTo>
                        <a:pt x="2490" y="576"/>
                      </a:lnTo>
                      <a:lnTo>
                        <a:pt x="2539" y="575"/>
                      </a:lnTo>
                      <a:lnTo>
                        <a:pt x="2587" y="566"/>
                      </a:lnTo>
                      <a:lnTo>
                        <a:pt x="2587" y="1257"/>
                      </a:lnTo>
                      <a:lnTo>
                        <a:pt x="3070" y="1573"/>
                      </a:lnTo>
                      <a:lnTo>
                        <a:pt x="3044" y="1623"/>
                      </a:lnTo>
                      <a:lnTo>
                        <a:pt x="3026" y="1678"/>
                      </a:lnTo>
                      <a:lnTo>
                        <a:pt x="3014" y="1734"/>
                      </a:lnTo>
                      <a:lnTo>
                        <a:pt x="3011" y="1794"/>
                      </a:lnTo>
                      <a:lnTo>
                        <a:pt x="3014" y="1854"/>
                      </a:lnTo>
                      <a:lnTo>
                        <a:pt x="3026" y="1910"/>
                      </a:lnTo>
                      <a:lnTo>
                        <a:pt x="3044" y="1965"/>
                      </a:lnTo>
                      <a:lnTo>
                        <a:pt x="3070" y="2015"/>
                      </a:lnTo>
                      <a:lnTo>
                        <a:pt x="2587" y="2331"/>
                      </a:lnTo>
                      <a:lnTo>
                        <a:pt x="2587" y="3022"/>
                      </a:lnTo>
                      <a:lnTo>
                        <a:pt x="2539" y="3013"/>
                      </a:lnTo>
                      <a:lnTo>
                        <a:pt x="2490" y="3012"/>
                      </a:lnTo>
                      <a:lnTo>
                        <a:pt x="2441" y="3013"/>
                      </a:lnTo>
                      <a:lnTo>
                        <a:pt x="2395" y="3022"/>
                      </a:lnTo>
                      <a:lnTo>
                        <a:pt x="2395" y="2457"/>
                      </a:lnTo>
                      <a:lnTo>
                        <a:pt x="2129" y="2630"/>
                      </a:lnTo>
                      <a:lnTo>
                        <a:pt x="2361" y="3031"/>
                      </a:lnTo>
                      <a:lnTo>
                        <a:pt x="2314" y="3048"/>
                      </a:lnTo>
                      <a:lnTo>
                        <a:pt x="2271" y="3069"/>
                      </a:lnTo>
                      <a:lnTo>
                        <a:pt x="2231" y="3095"/>
                      </a:lnTo>
                      <a:lnTo>
                        <a:pt x="2193" y="3125"/>
                      </a:lnTo>
                      <a:lnTo>
                        <a:pt x="1968" y="2735"/>
                      </a:lnTo>
                      <a:lnTo>
                        <a:pt x="1706" y="2907"/>
                      </a:lnTo>
                      <a:lnTo>
                        <a:pt x="2134" y="3187"/>
                      </a:lnTo>
                      <a:lnTo>
                        <a:pt x="2103" y="3234"/>
                      </a:lnTo>
                      <a:lnTo>
                        <a:pt x="2077" y="3286"/>
                      </a:lnTo>
                      <a:lnTo>
                        <a:pt x="2058" y="3341"/>
                      </a:lnTo>
                      <a:lnTo>
                        <a:pt x="2046" y="3399"/>
                      </a:lnTo>
                      <a:lnTo>
                        <a:pt x="2041" y="3459"/>
                      </a:lnTo>
                      <a:lnTo>
                        <a:pt x="2044" y="3504"/>
                      </a:lnTo>
                      <a:lnTo>
                        <a:pt x="2050" y="3547"/>
                      </a:lnTo>
                      <a:lnTo>
                        <a:pt x="2061" y="3588"/>
                      </a:lnTo>
                      <a:lnTo>
                        <a:pt x="1011" y="3588"/>
                      </a:lnTo>
                      <a:lnTo>
                        <a:pt x="1021" y="3547"/>
                      </a:lnTo>
                      <a:lnTo>
                        <a:pt x="1027" y="3504"/>
                      </a:lnTo>
                      <a:lnTo>
                        <a:pt x="1030" y="3459"/>
                      </a:lnTo>
                      <a:lnTo>
                        <a:pt x="1026" y="3398"/>
                      </a:lnTo>
                      <a:lnTo>
                        <a:pt x="1013" y="3339"/>
                      </a:lnTo>
                      <a:lnTo>
                        <a:pt x="993" y="3284"/>
                      </a:lnTo>
                      <a:lnTo>
                        <a:pt x="967" y="3230"/>
                      </a:lnTo>
                      <a:lnTo>
                        <a:pt x="933" y="3183"/>
                      </a:lnTo>
                      <a:lnTo>
                        <a:pt x="1356" y="2907"/>
                      </a:lnTo>
                      <a:lnTo>
                        <a:pt x="1098" y="2738"/>
                      </a:lnTo>
                      <a:lnTo>
                        <a:pt x="877" y="3124"/>
                      </a:lnTo>
                      <a:lnTo>
                        <a:pt x="840" y="3094"/>
                      </a:lnTo>
                      <a:lnTo>
                        <a:pt x="799" y="3068"/>
                      </a:lnTo>
                      <a:lnTo>
                        <a:pt x="756" y="3046"/>
                      </a:lnTo>
                      <a:lnTo>
                        <a:pt x="709" y="3030"/>
                      </a:lnTo>
                      <a:lnTo>
                        <a:pt x="937" y="2633"/>
                      </a:lnTo>
                      <a:lnTo>
                        <a:pt x="668" y="2457"/>
                      </a:lnTo>
                      <a:lnTo>
                        <a:pt x="668" y="3020"/>
                      </a:lnTo>
                      <a:lnTo>
                        <a:pt x="625" y="3013"/>
                      </a:lnTo>
                      <a:lnTo>
                        <a:pt x="581" y="3012"/>
                      </a:lnTo>
                      <a:lnTo>
                        <a:pt x="528" y="3015"/>
                      </a:lnTo>
                      <a:lnTo>
                        <a:pt x="476" y="3024"/>
                      </a:lnTo>
                      <a:lnTo>
                        <a:pt x="476" y="2331"/>
                      </a:lnTo>
                      <a:lnTo>
                        <a:pt x="0" y="2020"/>
                      </a:lnTo>
                      <a:lnTo>
                        <a:pt x="26" y="1969"/>
                      </a:lnTo>
                      <a:lnTo>
                        <a:pt x="45" y="1913"/>
                      </a:lnTo>
                      <a:lnTo>
                        <a:pt x="57" y="1855"/>
                      </a:lnTo>
                      <a:lnTo>
                        <a:pt x="61" y="1794"/>
                      </a:lnTo>
                      <a:lnTo>
                        <a:pt x="57" y="1733"/>
                      </a:lnTo>
                      <a:lnTo>
                        <a:pt x="45" y="1675"/>
                      </a:lnTo>
                      <a:lnTo>
                        <a:pt x="26" y="1619"/>
                      </a:lnTo>
                      <a:lnTo>
                        <a:pt x="0" y="1568"/>
                      </a:lnTo>
                      <a:lnTo>
                        <a:pt x="476" y="1257"/>
                      </a:lnTo>
                      <a:lnTo>
                        <a:pt x="476" y="564"/>
                      </a:lnTo>
                      <a:lnTo>
                        <a:pt x="528" y="573"/>
                      </a:lnTo>
                      <a:lnTo>
                        <a:pt x="581" y="576"/>
                      </a:lnTo>
                      <a:lnTo>
                        <a:pt x="625" y="575"/>
                      </a:lnTo>
                      <a:lnTo>
                        <a:pt x="668" y="568"/>
                      </a:lnTo>
                      <a:lnTo>
                        <a:pt x="668" y="1131"/>
                      </a:lnTo>
                      <a:lnTo>
                        <a:pt x="940" y="954"/>
                      </a:lnTo>
                      <a:lnTo>
                        <a:pt x="711" y="557"/>
                      </a:lnTo>
                      <a:lnTo>
                        <a:pt x="757" y="540"/>
                      </a:lnTo>
                      <a:lnTo>
                        <a:pt x="801" y="519"/>
                      </a:lnTo>
                      <a:lnTo>
                        <a:pt x="841" y="493"/>
                      </a:lnTo>
                      <a:lnTo>
                        <a:pt x="878" y="463"/>
                      </a:lnTo>
                      <a:lnTo>
                        <a:pt x="1101" y="847"/>
                      </a:lnTo>
                      <a:lnTo>
                        <a:pt x="1356" y="681"/>
                      </a:lnTo>
                      <a:lnTo>
                        <a:pt x="933" y="405"/>
                      </a:lnTo>
                      <a:lnTo>
                        <a:pt x="967" y="358"/>
                      </a:lnTo>
                      <a:lnTo>
                        <a:pt x="993" y="305"/>
                      </a:lnTo>
                      <a:lnTo>
                        <a:pt x="1013" y="249"/>
                      </a:lnTo>
                      <a:lnTo>
                        <a:pt x="1026" y="190"/>
                      </a:lnTo>
                      <a:lnTo>
                        <a:pt x="1030" y="129"/>
                      </a:lnTo>
                      <a:lnTo>
                        <a:pt x="1027" y="84"/>
                      </a:lnTo>
                      <a:lnTo>
                        <a:pt x="1021" y="41"/>
                      </a:lnTo>
                      <a:lnTo>
                        <a:pt x="101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55"/>
                <p:cNvSpPr>
                  <a:spLocks/>
                </p:cNvSpPr>
                <p:nvPr/>
              </p:nvSpPr>
              <p:spPr bwMode="auto">
                <a:xfrm>
                  <a:off x="-1399" y="1872"/>
                  <a:ext cx="321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2 w 641"/>
                    <a:gd name="T3" fmla="*/ 4 h 641"/>
                    <a:gd name="T4" fmla="*/ 422 w 641"/>
                    <a:gd name="T5" fmla="*/ 16 h 641"/>
                    <a:gd name="T6" fmla="*/ 468 w 641"/>
                    <a:gd name="T7" fmla="*/ 35 h 641"/>
                    <a:gd name="T8" fmla="*/ 510 w 641"/>
                    <a:gd name="T9" fmla="*/ 61 h 641"/>
                    <a:gd name="T10" fmla="*/ 547 w 641"/>
                    <a:gd name="T11" fmla="*/ 94 h 641"/>
                    <a:gd name="T12" fmla="*/ 580 w 641"/>
                    <a:gd name="T13" fmla="*/ 131 h 641"/>
                    <a:gd name="T14" fmla="*/ 606 w 641"/>
                    <a:gd name="T15" fmla="*/ 173 h 641"/>
                    <a:gd name="T16" fmla="*/ 625 w 641"/>
                    <a:gd name="T17" fmla="*/ 218 h 641"/>
                    <a:gd name="T18" fmla="*/ 637 w 641"/>
                    <a:gd name="T19" fmla="*/ 269 h 641"/>
                    <a:gd name="T20" fmla="*/ 641 w 641"/>
                    <a:gd name="T21" fmla="*/ 321 h 641"/>
                    <a:gd name="T22" fmla="*/ 637 w 641"/>
                    <a:gd name="T23" fmla="*/ 372 h 641"/>
                    <a:gd name="T24" fmla="*/ 625 w 641"/>
                    <a:gd name="T25" fmla="*/ 421 h 641"/>
                    <a:gd name="T26" fmla="*/ 606 w 641"/>
                    <a:gd name="T27" fmla="*/ 468 h 641"/>
                    <a:gd name="T28" fmla="*/ 580 w 641"/>
                    <a:gd name="T29" fmla="*/ 509 h 641"/>
                    <a:gd name="T30" fmla="*/ 547 w 641"/>
                    <a:gd name="T31" fmla="*/ 547 h 641"/>
                    <a:gd name="T32" fmla="*/ 510 w 641"/>
                    <a:gd name="T33" fmla="*/ 578 h 641"/>
                    <a:gd name="T34" fmla="*/ 468 w 641"/>
                    <a:gd name="T35" fmla="*/ 604 h 641"/>
                    <a:gd name="T36" fmla="*/ 422 w 641"/>
                    <a:gd name="T37" fmla="*/ 625 h 641"/>
                    <a:gd name="T38" fmla="*/ 372 w 641"/>
                    <a:gd name="T39" fmla="*/ 636 h 641"/>
                    <a:gd name="T40" fmla="*/ 321 w 641"/>
                    <a:gd name="T41" fmla="*/ 641 h 641"/>
                    <a:gd name="T42" fmla="*/ 269 w 641"/>
                    <a:gd name="T43" fmla="*/ 636 h 641"/>
                    <a:gd name="T44" fmla="*/ 220 w 641"/>
                    <a:gd name="T45" fmla="*/ 625 h 641"/>
                    <a:gd name="T46" fmla="*/ 173 w 641"/>
                    <a:gd name="T47" fmla="*/ 604 h 641"/>
                    <a:gd name="T48" fmla="*/ 132 w 641"/>
                    <a:gd name="T49" fmla="*/ 578 h 641"/>
                    <a:gd name="T50" fmla="*/ 94 w 641"/>
                    <a:gd name="T51" fmla="*/ 547 h 641"/>
                    <a:gd name="T52" fmla="*/ 63 w 641"/>
                    <a:gd name="T53" fmla="*/ 509 h 641"/>
                    <a:gd name="T54" fmla="*/ 37 w 641"/>
                    <a:gd name="T55" fmla="*/ 468 h 641"/>
                    <a:gd name="T56" fmla="*/ 17 w 641"/>
                    <a:gd name="T57" fmla="*/ 421 h 641"/>
                    <a:gd name="T58" fmla="*/ 4 w 641"/>
                    <a:gd name="T59" fmla="*/ 372 h 641"/>
                    <a:gd name="T60" fmla="*/ 0 w 641"/>
                    <a:gd name="T61" fmla="*/ 321 h 641"/>
                    <a:gd name="T62" fmla="*/ 4 w 641"/>
                    <a:gd name="T63" fmla="*/ 269 h 641"/>
                    <a:gd name="T64" fmla="*/ 17 w 641"/>
                    <a:gd name="T65" fmla="*/ 218 h 641"/>
                    <a:gd name="T66" fmla="*/ 37 w 641"/>
                    <a:gd name="T67" fmla="*/ 173 h 641"/>
                    <a:gd name="T68" fmla="*/ 63 w 641"/>
                    <a:gd name="T69" fmla="*/ 131 h 641"/>
                    <a:gd name="T70" fmla="*/ 94 w 641"/>
                    <a:gd name="T71" fmla="*/ 94 h 641"/>
                    <a:gd name="T72" fmla="*/ 132 w 641"/>
                    <a:gd name="T73" fmla="*/ 61 h 641"/>
                    <a:gd name="T74" fmla="*/ 173 w 641"/>
                    <a:gd name="T75" fmla="*/ 35 h 641"/>
                    <a:gd name="T76" fmla="*/ 220 w 641"/>
                    <a:gd name="T77" fmla="*/ 16 h 641"/>
                    <a:gd name="T78" fmla="*/ 269 w 641"/>
                    <a:gd name="T79" fmla="*/ 4 h 641"/>
                    <a:gd name="T80" fmla="*/ 321 w 641"/>
                    <a:gd name="T81" fmla="*/ 0 h 641"/>
                    <a:gd name="T82" fmla="*/ 321 w 641"/>
                    <a:gd name="T83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2" y="4"/>
                      </a:lnTo>
                      <a:lnTo>
                        <a:pt x="422" y="16"/>
                      </a:lnTo>
                      <a:lnTo>
                        <a:pt x="468" y="35"/>
                      </a:lnTo>
                      <a:lnTo>
                        <a:pt x="510" y="61"/>
                      </a:lnTo>
                      <a:lnTo>
                        <a:pt x="547" y="94"/>
                      </a:lnTo>
                      <a:lnTo>
                        <a:pt x="580" y="131"/>
                      </a:lnTo>
                      <a:lnTo>
                        <a:pt x="606" y="173"/>
                      </a:lnTo>
                      <a:lnTo>
                        <a:pt x="625" y="218"/>
                      </a:lnTo>
                      <a:lnTo>
                        <a:pt x="637" y="269"/>
                      </a:lnTo>
                      <a:lnTo>
                        <a:pt x="641" y="321"/>
                      </a:lnTo>
                      <a:lnTo>
                        <a:pt x="637" y="372"/>
                      </a:lnTo>
                      <a:lnTo>
                        <a:pt x="625" y="421"/>
                      </a:lnTo>
                      <a:lnTo>
                        <a:pt x="606" y="468"/>
                      </a:lnTo>
                      <a:lnTo>
                        <a:pt x="580" y="509"/>
                      </a:lnTo>
                      <a:lnTo>
                        <a:pt x="547" y="547"/>
                      </a:lnTo>
                      <a:lnTo>
                        <a:pt x="510" y="578"/>
                      </a:lnTo>
                      <a:lnTo>
                        <a:pt x="468" y="604"/>
                      </a:lnTo>
                      <a:lnTo>
                        <a:pt x="422" y="625"/>
                      </a:lnTo>
                      <a:lnTo>
                        <a:pt x="372" y="636"/>
                      </a:lnTo>
                      <a:lnTo>
                        <a:pt x="321" y="641"/>
                      </a:lnTo>
                      <a:lnTo>
                        <a:pt x="269" y="636"/>
                      </a:lnTo>
                      <a:lnTo>
                        <a:pt x="220" y="625"/>
                      </a:lnTo>
                      <a:lnTo>
                        <a:pt x="173" y="604"/>
                      </a:lnTo>
                      <a:lnTo>
                        <a:pt x="132" y="578"/>
                      </a:lnTo>
                      <a:lnTo>
                        <a:pt x="94" y="547"/>
                      </a:lnTo>
                      <a:lnTo>
                        <a:pt x="63" y="509"/>
                      </a:lnTo>
                      <a:lnTo>
                        <a:pt x="37" y="468"/>
                      </a:lnTo>
                      <a:lnTo>
                        <a:pt x="17" y="421"/>
                      </a:lnTo>
                      <a:lnTo>
                        <a:pt x="4" y="372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7" y="218"/>
                      </a:lnTo>
                      <a:lnTo>
                        <a:pt x="37" y="173"/>
                      </a:lnTo>
                      <a:lnTo>
                        <a:pt x="63" y="131"/>
                      </a:lnTo>
                      <a:lnTo>
                        <a:pt x="94" y="94"/>
                      </a:lnTo>
                      <a:lnTo>
                        <a:pt x="132" y="61"/>
                      </a:lnTo>
                      <a:lnTo>
                        <a:pt x="173" y="35"/>
                      </a:lnTo>
                      <a:lnTo>
                        <a:pt x="220" y="16"/>
                      </a:lnTo>
                      <a:lnTo>
                        <a:pt x="269" y="4"/>
                      </a:lnTo>
                      <a:lnTo>
                        <a:pt x="321" y="0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56"/>
                <p:cNvSpPr>
                  <a:spLocks/>
                </p:cNvSpPr>
                <p:nvPr/>
              </p:nvSpPr>
              <p:spPr bwMode="auto">
                <a:xfrm>
                  <a:off x="-444" y="1872"/>
                  <a:ext cx="320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3 w 641"/>
                    <a:gd name="T3" fmla="*/ 4 h 641"/>
                    <a:gd name="T4" fmla="*/ 422 w 641"/>
                    <a:gd name="T5" fmla="*/ 16 h 641"/>
                    <a:gd name="T6" fmla="*/ 468 w 641"/>
                    <a:gd name="T7" fmla="*/ 35 h 641"/>
                    <a:gd name="T8" fmla="*/ 510 w 641"/>
                    <a:gd name="T9" fmla="*/ 61 h 641"/>
                    <a:gd name="T10" fmla="*/ 547 w 641"/>
                    <a:gd name="T11" fmla="*/ 94 h 641"/>
                    <a:gd name="T12" fmla="*/ 580 w 641"/>
                    <a:gd name="T13" fmla="*/ 131 h 641"/>
                    <a:gd name="T14" fmla="*/ 606 w 641"/>
                    <a:gd name="T15" fmla="*/ 173 h 641"/>
                    <a:gd name="T16" fmla="*/ 625 w 641"/>
                    <a:gd name="T17" fmla="*/ 218 h 641"/>
                    <a:gd name="T18" fmla="*/ 637 w 641"/>
                    <a:gd name="T19" fmla="*/ 269 h 641"/>
                    <a:gd name="T20" fmla="*/ 641 w 641"/>
                    <a:gd name="T21" fmla="*/ 321 h 641"/>
                    <a:gd name="T22" fmla="*/ 637 w 641"/>
                    <a:gd name="T23" fmla="*/ 372 h 641"/>
                    <a:gd name="T24" fmla="*/ 625 w 641"/>
                    <a:gd name="T25" fmla="*/ 421 h 641"/>
                    <a:gd name="T26" fmla="*/ 606 w 641"/>
                    <a:gd name="T27" fmla="*/ 468 h 641"/>
                    <a:gd name="T28" fmla="*/ 580 w 641"/>
                    <a:gd name="T29" fmla="*/ 509 h 641"/>
                    <a:gd name="T30" fmla="*/ 547 w 641"/>
                    <a:gd name="T31" fmla="*/ 547 h 641"/>
                    <a:gd name="T32" fmla="*/ 510 w 641"/>
                    <a:gd name="T33" fmla="*/ 578 h 641"/>
                    <a:gd name="T34" fmla="*/ 468 w 641"/>
                    <a:gd name="T35" fmla="*/ 604 h 641"/>
                    <a:gd name="T36" fmla="*/ 422 w 641"/>
                    <a:gd name="T37" fmla="*/ 625 h 641"/>
                    <a:gd name="T38" fmla="*/ 373 w 641"/>
                    <a:gd name="T39" fmla="*/ 636 h 641"/>
                    <a:gd name="T40" fmla="*/ 321 w 641"/>
                    <a:gd name="T41" fmla="*/ 641 h 641"/>
                    <a:gd name="T42" fmla="*/ 269 w 641"/>
                    <a:gd name="T43" fmla="*/ 636 h 641"/>
                    <a:gd name="T44" fmla="*/ 220 w 641"/>
                    <a:gd name="T45" fmla="*/ 625 h 641"/>
                    <a:gd name="T46" fmla="*/ 173 w 641"/>
                    <a:gd name="T47" fmla="*/ 604 h 641"/>
                    <a:gd name="T48" fmla="*/ 131 w 641"/>
                    <a:gd name="T49" fmla="*/ 578 h 641"/>
                    <a:gd name="T50" fmla="*/ 94 w 641"/>
                    <a:gd name="T51" fmla="*/ 547 h 641"/>
                    <a:gd name="T52" fmla="*/ 63 w 641"/>
                    <a:gd name="T53" fmla="*/ 509 h 641"/>
                    <a:gd name="T54" fmla="*/ 36 w 641"/>
                    <a:gd name="T55" fmla="*/ 468 h 641"/>
                    <a:gd name="T56" fmla="*/ 17 w 641"/>
                    <a:gd name="T57" fmla="*/ 421 h 641"/>
                    <a:gd name="T58" fmla="*/ 4 w 641"/>
                    <a:gd name="T59" fmla="*/ 372 h 641"/>
                    <a:gd name="T60" fmla="*/ 0 w 641"/>
                    <a:gd name="T61" fmla="*/ 321 h 641"/>
                    <a:gd name="T62" fmla="*/ 4 w 641"/>
                    <a:gd name="T63" fmla="*/ 269 h 641"/>
                    <a:gd name="T64" fmla="*/ 17 w 641"/>
                    <a:gd name="T65" fmla="*/ 218 h 641"/>
                    <a:gd name="T66" fmla="*/ 36 w 641"/>
                    <a:gd name="T67" fmla="*/ 173 h 641"/>
                    <a:gd name="T68" fmla="*/ 63 w 641"/>
                    <a:gd name="T69" fmla="*/ 131 h 641"/>
                    <a:gd name="T70" fmla="*/ 94 w 641"/>
                    <a:gd name="T71" fmla="*/ 94 h 641"/>
                    <a:gd name="T72" fmla="*/ 131 w 641"/>
                    <a:gd name="T73" fmla="*/ 61 h 641"/>
                    <a:gd name="T74" fmla="*/ 173 w 641"/>
                    <a:gd name="T75" fmla="*/ 35 h 641"/>
                    <a:gd name="T76" fmla="*/ 220 w 641"/>
                    <a:gd name="T77" fmla="*/ 16 h 641"/>
                    <a:gd name="T78" fmla="*/ 269 w 641"/>
                    <a:gd name="T79" fmla="*/ 4 h 641"/>
                    <a:gd name="T80" fmla="*/ 321 w 641"/>
                    <a:gd name="T81" fmla="*/ 0 h 641"/>
                    <a:gd name="T82" fmla="*/ 321 w 641"/>
                    <a:gd name="T83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3" y="4"/>
                      </a:lnTo>
                      <a:lnTo>
                        <a:pt x="422" y="16"/>
                      </a:lnTo>
                      <a:lnTo>
                        <a:pt x="468" y="35"/>
                      </a:lnTo>
                      <a:lnTo>
                        <a:pt x="510" y="61"/>
                      </a:lnTo>
                      <a:lnTo>
                        <a:pt x="547" y="94"/>
                      </a:lnTo>
                      <a:lnTo>
                        <a:pt x="580" y="131"/>
                      </a:lnTo>
                      <a:lnTo>
                        <a:pt x="606" y="173"/>
                      </a:lnTo>
                      <a:lnTo>
                        <a:pt x="625" y="218"/>
                      </a:lnTo>
                      <a:lnTo>
                        <a:pt x="637" y="269"/>
                      </a:lnTo>
                      <a:lnTo>
                        <a:pt x="641" y="321"/>
                      </a:lnTo>
                      <a:lnTo>
                        <a:pt x="637" y="372"/>
                      </a:lnTo>
                      <a:lnTo>
                        <a:pt x="625" y="421"/>
                      </a:lnTo>
                      <a:lnTo>
                        <a:pt x="606" y="468"/>
                      </a:lnTo>
                      <a:lnTo>
                        <a:pt x="580" y="509"/>
                      </a:lnTo>
                      <a:lnTo>
                        <a:pt x="547" y="547"/>
                      </a:lnTo>
                      <a:lnTo>
                        <a:pt x="510" y="578"/>
                      </a:lnTo>
                      <a:lnTo>
                        <a:pt x="468" y="604"/>
                      </a:lnTo>
                      <a:lnTo>
                        <a:pt x="422" y="625"/>
                      </a:lnTo>
                      <a:lnTo>
                        <a:pt x="373" y="636"/>
                      </a:lnTo>
                      <a:lnTo>
                        <a:pt x="321" y="641"/>
                      </a:lnTo>
                      <a:lnTo>
                        <a:pt x="269" y="636"/>
                      </a:lnTo>
                      <a:lnTo>
                        <a:pt x="220" y="625"/>
                      </a:lnTo>
                      <a:lnTo>
                        <a:pt x="173" y="604"/>
                      </a:lnTo>
                      <a:lnTo>
                        <a:pt x="131" y="578"/>
                      </a:lnTo>
                      <a:lnTo>
                        <a:pt x="94" y="547"/>
                      </a:lnTo>
                      <a:lnTo>
                        <a:pt x="63" y="509"/>
                      </a:lnTo>
                      <a:lnTo>
                        <a:pt x="36" y="468"/>
                      </a:lnTo>
                      <a:lnTo>
                        <a:pt x="17" y="421"/>
                      </a:lnTo>
                      <a:lnTo>
                        <a:pt x="4" y="372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7" y="218"/>
                      </a:lnTo>
                      <a:lnTo>
                        <a:pt x="36" y="173"/>
                      </a:lnTo>
                      <a:lnTo>
                        <a:pt x="63" y="131"/>
                      </a:lnTo>
                      <a:lnTo>
                        <a:pt x="94" y="94"/>
                      </a:lnTo>
                      <a:lnTo>
                        <a:pt x="131" y="61"/>
                      </a:lnTo>
                      <a:lnTo>
                        <a:pt x="173" y="35"/>
                      </a:lnTo>
                      <a:lnTo>
                        <a:pt x="220" y="16"/>
                      </a:lnTo>
                      <a:lnTo>
                        <a:pt x="269" y="4"/>
                      </a:lnTo>
                      <a:lnTo>
                        <a:pt x="321" y="0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57"/>
                <p:cNvSpPr>
                  <a:spLocks/>
                </p:cNvSpPr>
                <p:nvPr/>
              </p:nvSpPr>
              <p:spPr bwMode="auto">
                <a:xfrm>
                  <a:off x="-1399" y="3537"/>
                  <a:ext cx="321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2 w 641"/>
                    <a:gd name="T3" fmla="*/ 5 h 641"/>
                    <a:gd name="T4" fmla="*/ 422 w 641"/>
                    <a:gd name="T5" fmla="*/ 16 h 641"/>
                    <a:gd name="T6" fmla="*/ 468 w 641"/>
                    <a:gd name="T7" fmla="*/ 37 h 641"/>
                    <a:gd name="T8" fmla="*/ 510 w 641"/>
                    <a:gd name="T9" fmla="*/ 63 h 641"/>
                    <a:gd name="T10" fmla="*/ 547 w 641"/>
                    <a:gd name="T11" fmla="*/ 94 h 641"/>
                    <a:gd name="T12" fmla="*/ 580 w 641"/>
                    <a:gd name="T13" fmla="*/ 132 h 641"/>
                    <a:gd name="T14" fmla="*/ 606 w 641"/>
                    <a:gd name="T15" fmla="*/ 173 h 641"/>
                    <a:gd name="T16" fmla="*/ 625 w 641"/>
                    <a:gd name="T17" fmla="*/ 220 h 641"/>
                    <a:gd name="T18" fmla="*/ 637 w 641"/>
                    <a:gd name="T19" fmla="*/ 269 h 641"/>
                    <a:gd name="T20" fmla="*/ 641 w 641"/>
                    <a:gd name="T21" fmla="*/ 320 h 641"/>
                    <a:gd name="T22" fmla="*/ 637 w 641"/>
                    <a:gd name="T23" fmla="*/ 372 h 641"/>
                    <a:gd name="T24" fmla="*/ 625 w 641"/>
                    <a:gd name="T25" fmla="*/ 423 h 641"/>
                    <a:gd name="T26" fmla="*/ 606 w 641"/>
                    <a:gd name="T27" fmla="*/ 468 h 641"/>
                    <a:gd name="T28" fmla="*/ 580 w 641"/>
                    <a:gd name="T29" fmla="*/ 510 h 641"/>
                    <a:gd name="T30" fmla="*/ 547 w 641"/>
                    <a:gd name="T31" fmla="*/ 547 h 641"/>
                    <a:gd name="T32" fmla="*/ 510 w 641"/>
                    <a:gd name="T33" fmla="*/ 580 h 641"/>
                    <a:gd name="T34" fmla="*/ 468 w 641"/>
                    <a:gd name="T35" fmla="*/ 606 h 641"/>
                    <a:gd name="T36" fmla="*/ 422 w 641"/>
                    <a:gd name="T37" fmla="*/ 625 h 641"/>
                    <a:gd name="T38" fmla="*/ 372 w 641"/>
                    <a:gd name="T39" fmla="*/ 637 h 641"/>
                    <a:gd name="T40" fmla="*/ 321 w 641"/>
                    <a:gd name="T41" fmla="*/ 641 h 641"/>
                    <a:gd name="T42" fmla="*/ 269 w 641"/>
                    <a:gd name="T43" fmla="*/ 637 h 641"/>
                    <a:gd name="T44" fmla="*/ 220 w 641"/>
                    <a:gd name="T45" fmla="*/ 625 h 641"/>
                    <a:gd name="T46" fmla="*/ 173 w 641"/>
                    <a:gd name="T47" fmla="*/ 606 h 641"/>
                    <a:gd name="T48" fmla="*/ 132 w 641"/>
                    <a:gd name="T49" fmla="*/ 580 h 641"/>
                    <a:gd name="T50" fmla="*/ 94 w 641"/>
                    <a:gd name="T51" fmla="*/ 547 h 641"/>
                    <a:gd name="T52" fmla="*/ 63 w 641"/>
                    <a:gd name="T53" fmla="*/ 510 h 641"/>
                    <a:gd name="T54" fmla="*/ 37 w 641"/>
                    <a:gd name="T55" fmla="*/ 468 h 641"/>
                    <a:gd name="T56" fmla="*/ 17 w 641"/>
                    <a:gd name="T57" fmla="*/ 423 h 641"/>
                    <a:gd name="T58" fmla="*/ 4 w 641"/>
                    <a:gd name="T59" fmla="*/ 372 h 641"/>
                    <a:gd name="T60" fmla="*/ 0 w 641"/>
                    <a:gd name="T61" fmla="*/ 320 h 641"/>
                    <a:gd name="T62" fmla="*/ 4 w 641"/>
                    <a:gd name="T63" fmla="*/ 269 h 641"/>
                    <a:gd name="T64" fmla="*/ 17 w 641"/>
                    <a:gd name="T65" fmla="*/ 220 h 641"/>
                    <a:gd name="T66" fmla="*/ 37 w 641"/>
                    <a:gd name="T67" fmla="*/ 173 h 641"/>
                    <a:gd name="T68" fmla="*/ 63 w 641"/>
                    <a:gd name="T69" fmla="*/ 132 h 641"/>
                    <a:gd name="T70" fmla="*/ 94 w 641"/>
                    <a:gd name="T71" fmla="*/ 94 h 641"/>
                    <a:gd name="T72" fmla="*/ 132 w 641"/>
                    <a:gd name="T73" fmla="*/ 63 h 641"/>
                    <a:gd name="T74" fmla="*/ 173 w 641"/>
                    <a:gd name="T75" fmla="*/ 37 h 641"/>
                    <a:gd name="T76" fmla="*/ 220 w 641"/>
                    <a:gd name="T77" fmla="*/ 16 h 641"/>
                    <a:gd name="T78" fmla="*/ 269 w 641"/>
                    <a:gd name="T79" fmla="*/ 5 h 641"/>
                    <a:gd name="T80" fmla="*/ 321 w 641"/>
                    <a:gd name="T81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2" y="5"/>
                      </a:lnTo>
                      <a:lnTo>
                        <a:pt x="422" y="16"/>
                      </a:lnTo>
                      <a:lnTo>
                        <a:pt x="468" y="37"/>
                      </a:lnTo>
                      <a:lnTo>
                        <a:pt x="510" y="63"/>
                      </a:lnTo>
                      <a:lnTo>
                        <a:pt x="547" y="94"/>
                      </a:lnTo>
                      <a:lnTo>
                        <a:pt x="580" y="132"/>
                      </a:lnTo>
                      <a:lnTo>
                        <a:pt x="606" y="173"/>
                      </a:lnTo>
                      <a:lnTo>
                        <a:pt x="625" y="220"/>
                      </a:lnTo>
                      <a:lnTo>
                        <a:pt x="637" y="269"/>
                      </a:lnTo>
                      <a:lnTo>
                        <a:pt x="641" y="320"/>
                      </a:lnTo>
                      <a:lnTo>
                        <a:pt x="637" y="372"/>
                      </a:lnTo>
                      <a:lnTo>
                        <a:pt x="625" y="423"/>
                      </a:lnTo>
                      <a:lnTo>
                        <a:pt x="606" y="468"/>
                      </a:lnTo>
                      <a:lnTo>
                        <a:pt x="580" y="510"/>
                      </a:lnTo>
                      <a:lnTo>
                        <a:pt x="547" y="547"/>
                      </a:lnTo>
                      <a:lnTo>
                        <a:pt x="510" y="580"/>
                      </a:lnTo>
                      <a:lnTo>
                        <a:pt x="468" y="606"/>
                      </a:lnTo>
                      <a:lnTo>
                        <a:pt x="422" y="625"/>
                      </a:lnTo>
                      <a:lnTo>
                        <a:pt x="372" y="637"/>
                      </a:lnTo>
                      <a:lnTo>
                        <a:pt x="321" y="641"/>
                      </a:lnTo>
                      <a:lnTo>
                        <a:pt x="269" y="637"/>
                      </a:lnTo>
                      <a:lnTo>
                        <a:pt x="220" y="625"/>
                      </a:lnTo>
                      <a:lnTo>
                        <a:pt x="173" y="606"/>
                      </a:lnTo>
                      <a:lnTo>
                        <a:pt x="132" y="580"/>
                      </a:lnTo>
                      <a:lnTo>
                        <a:pt x="94" y="547"/>
                      </a:lnTo>
                      <a:lnTo>
                        <a:pt x="63" y="510"/>
                      </a:lnTo>
                      <a:lnTo>
                        <a:pt x="37" y="468"/>
                      </a:lnTo>
                      <a:lnTo>
                        <a:pt x="17" y="423"/>
                      </a:lnTo>
                      <a:lnTo>
                        <a:pt x="4" y="372"/>
                      </a:lnTo>
                      <a:lnTo>
                        <a:pt x="0" y="320"/>
                      </a:lnTo>
                      <a:lnTo>
                        <a:pt x="4" y="269"/>
                      </a:lnTo>
                      <a:lnTo>
                        <a:pt x="17" y="220"/>
                      </a:lnTo>
                      <a:lnTo>
                        <a:pt x="37" y="173"/>
                      </a:lnTo>
                      <a:lnTo>
                        <a:pt x="63" y="132"/>
                      </a:lnTo>
                      <a:lnTo>
                        <a:pt x="94" y="94"/>
                      </a:lnTo>
                      <a:lnTo>
                        <a:pt x="132" y="63"/>
                      </a:lnTo>
                      <a:lnTo>
                        <a:pt x="173" y="37"/>
                      </a:lnTo>
                      <a:lnTo>
                        <a:pt x="220" y="16"/>
                      </a:lnTo>
                      <a:lnTo>
                        <a:pt x="269" y="5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58"/>
                <p:cNvSpPr>
                  <a:spLocks/>
                </p:cNvSpPr>
                <p:nvPr/>
              </p:nvSpPr>
              <p:spPr bwMode="auto">
                <a:xfrm>
                  <a:off x="-444" y="3537"/>
                  <a:ext cx="320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3 w 641"/>
                    <a:gd name="T3" fmla="*/ 5 h 641"/>
                    <a:gd name="T4" fmla="*/ 422 w 641"/>
                    <a:gd name="T5" fmla="*/ 16 h 641"/>
                    <a:gd name="T6" fmla="*/ 468 w 641"/>
                    <a:gd name="T7" fmla="*/ 37 h 641"/>
                    <a:gd name="T8" fmla="*/ 510 w 641"/>
                    <a:gd name="T9" fmla="*/ 63 h 641"/>
                    <a:gd name="T10" fmla="*/ 547 w 641"/>
                    <a:gd name="T11" fmla="*/ 94 h 641"/>
                    <a:gd name="T12" fmla="*/ 580 w 641"/>
                    <a:gd name="T13" fmla="*/ 132 h 641"/>
                    <a:gd name="T14" fmla="*/ 606 w 641"/>
                    <a:gd name="T15" fmla="*/ 173 h 641"/>
                    <a:gd name="T16" fmla="*/ 625 w 641"/>
                    <a:gd name="T17" fmla="*/ 220 h 641"/>
                    <a:gd name="T18" fmla="*/ 637 w 641"/>
                    <a:gd name="T19" fmla="*/ 269 h 641"/>
                    <a:gd name="T20" fmla="*/ 641 w 641"/>
                    <a:gd name="T21" fmla="*/ 320 h 641"/>
                    <a:gd name="T22" fmla="*/ 637 w 641"/>
                    <a:gd name="T23" fmla="*/ 372 h 641"/>
                    <a:gd name="T24" fmla="*/ 625 w 641"/>
                    <a:gd name="T25" fmla="*/ 423 h 641"/>
                    <a:gd name="T26" fmla="*/ 606 w 641"/>
                    <a:gd name="T27" fmla="*/ 468 h 641"/>
                    <a:gd name="T28" fmla="*/ 580 w 641"/>
                    <a:gd name="T29" fmla="*/ 510 h 641"/>
                    <a:gd name="T30" fmla="*/ 547 w 641"/>
                    <a:gd name="T31" fmla="*/ 547 h 641"/>
                    <a:gd name="T32" fmla="*/ 510 w 641"/>
                    <a:gd name="T33" fmla="*/ 580 h 641"/>
                    <a:gd name="T34" fmla="*/ 468 w 641"/>
                    <a:gd name="T35" fmla="*/ 606 h 641"/>
                    <a:gd name="T36" fmla="*/ 422 w 641"/>
                    <a:gd name="T37" fmla="*/ 625 h 641"/>
                    <a:gd name="T38" fmla="*/ 373 w 641"/>
                    <a:gd name="T39" fmla="*/ 637 h 641"/>
                    <a:gd name="T40" fmla="*/ 321 w 641"/>
                    <a:gd name="T41" fmla="*/ 641 h 641"/>
                    <a:gd name="T42" fmla="*/ 269 w 641"/>
                    <a:gd name="T43" fmla="*/ 637 h 641"/>
                    <a:gd name="T44" fmla="*/ 220 w 641"/>
                    <a:gd name="T45" fmla="*/ 625 h 641"/>
                    <a:gd name="T46" fmla="*/ 173 w 641"/>
                    <a:gd name="T47" fmla="*/ 606 h 641"/>
                    <a:gd name="T48" fmla="*/ 131 w 641"/>
                    <a:gd name="T49" fmla="*/ 580 h 641"/>
                    <a:gd name="T50" fmla="*/ 94 w 641"/>
                    <a:gd name="T51" fmla="*/ 547 h 641"/>
                    <a:gd name="T52" fmla="*/ 63 w 641"/>
                    <a:gd name="T53" fmla="*/ 510 h 641"/>
                    <a:gd name="T54" fmla="*/ 36 w 641"/>
                    <a:gd name="T55" fmla="*/ 468 h 641"/>
                    <a:gd name="T56" fmla="*/ 17 w 641"/>
                    <a:gd name="T57" fmla="*/ 423 h 641"/>
                    <a:gd name="T58" fmla="*/ 4 w 641"/>
                    <a:gd name="T59" fmla="*/ 372 h 641"/>
                    <a:gd name="T60" fmla="*/ 0 w 641"/>
                    <a:gd name="T61" fmla="*/ 320 h 641"/>
                    <a:gd name="T62" fmla="*/ 4 w 641"/>
                    <a:gd name="T63" fmla="*/ 269 h 641"/>
                    <a:gd name="T64" fmla="*/ 17 w 641"/>
                    <a:gd name="T65" fmla="*/ 220 h 641"/>
                    <a:gd name="T66" fmla="*/ 36 w 641"/>
                    <a:gd name="T67" fmla="*/ 173 h 641"/>
                    <a:gd name="T68" fmla="*/ 63 w 641"/>
                    <a:gd name="T69" fmla="*/ 132 h 641"/>
                    <a:gd name="T70" fmla="*/ 94 w 641"/>
                    <a:gd name="T71" fmla="*/ 94 h 641"/>
                    <a:gd name="T72" fmla="*/ 131 w 641"/>
                    <a:gd name="T73" fmla="*/ 63 h 641"/>
                    <a:gd name="T74" fmla="*/ 173 w 641"/>
                    <a:gd name="T75" fmla="*/ 37 h 641"/>
                    <a:gd name="T76" fmla="*/ 220 w 641"/>
                    <a:gd name="T77" fmla="*/ 16 h 641"/>
                    <a:gd name="T78" fmla="*/ 269 w 641"/>
                    <a:gd name="T79" fmla="*/ 5 h 641"/>
                    <a:gd name="T80" fmla="*/ 321 w 641"/>
                    <a:gd name="T81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3" y="5"/>
                      </a:lnTo>
                      <a:lnTo>
                        <a:pt x="422" y="16"/>
                      </a:lnTo>
                      <a:lnTo>
                        <a:pt x="468" y="37"/>
                      </a:lnTo>
                      <a:lnTo>
                        <a:pt x="510" y="63"/>
                      </a:lnTo>
                      <a:lnTo>
                        <a:pt x="547" y="94"/>
                      </a:lnTo>
                      <a:lnTo>
                        <a:pt x="580" y="132"/>
                      </a:lnTo>
                      <a:lnTo>
                        <a:pt x="606" y="173"/>
                      </a:lnTo>
                      <a:lnTo>
                        <a:pt x="625" y="220"/>
                      </a:lnTo>
                      <a:lnTo>
                        <a:pt x="637" y="269"/>
                      </a:lnTo>
                      <a:lnTo>
                        <a:pt x="641" y="320"/>
                      </a:lnTo>
                      <a:lnTo>
                        <a:pt x="637" y="372"/>
                      </a:lnTo>
                      <a:lnTo>
                        <a:pt x="625" y="423"/>
                      </a:lnTo>
                      <a:lnTo>
                        <a:pt x="606" y="468"/>
                      </a:lnTo>
                      <a:lnTo>
                        <a:pt x="580" y="510"/>
                      </a:lnTo>
                      <a:lnTo>
                        <a:pt x="547" y="547"/>
                      </a:lnTo>
                      <a:lnTo>
                        <a:pt x="510" y="580"/>
                      </a:lnTo>
                      <a:lnTo>
                        <a:pt x="468" y="606"/>
                      </a:lnTo>
                      <a:lnTo>
                        <a:pt x="422" y="625"/>
                      </a:lnTo>
                      <a:lnTo>
                        <a:pt x="373" y="637"/>
                      </a:lnTo>
                      <a:lnTo>
                        <a:pt x="321" y="641"/>
                      </a:lnTo>
                      <a:lnTo>
                        <a:pt x="269" y="637"/>
                      </a:lnTo>
                      <a:lnTo>
                        <a:pt x="220" y="625"/>
                      </a:lnTo>
                      <a:lnTo>
                        <a:pt x="173" y="606"/>
                      </a:lnTo>
                      <a:lnTo>
                        <a:pt x="131" y="580"/>
                      </a:lnTo>
                      <a:lnTo>
                        <a:pt x="94" y="547"/>
                      </a:lnTo>
                      <a:lnTo>
                        <a:pt x="63" y="510"/>
                      </a:lnTo>
                      <a:lnTo>
                        <a:pt x="36" y="468"/>
                      </a:lnTo>
                      <a:lnTo>
                        <a:pt x="17" y="423"/>
                      </a:lnTo>
                      <a:lnTo>
                        <a:pt x="4" y="372"/>
                      </a:lnTo>
                      <a:lnTo>
                        <a:pt x="0" y="320"/>
                      </a:lnTo>
                      <a:lnTo>
                        <a:pt x="4" y="269"/>
                      </a:lnTo>
                      <a:lnTo>
                        <a:pt x="17" y="220"/>
                      </a:lnTo>
                      <a:lnTo>
                        <a:pt x="36" y="173"/>
                      </a:lnTo>
                      <a:lnTo>
                        <a:pt x="63" y="132"/>
                      </a:lnTo>
                      <a:lnTo>
                        <a:pt x="94" y="94"/>
                      </a:lnTo>
                      <a:lnTo>
                        <a:pt x="131" y="63"/>
                      </a:lnTo>
                      <a:lnTo>
                        <a:pt x="173" y="37"/>
                      </a:lnTo>
                      <a:lnTo>
                        <a:pt x="220" y="16"/>
                      </a:lnTo>
                      <a:lnTo>
                        <a:pt x="269" y="5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59"/>
                <p:cNvSpPr>
                  <a:spLocks/>
                </p:cNvSpPr>
                <p:nvPr/>
              </p:nvSpPr>
              <p:spPr bwMode="auto">
                <a:xfrm>
                  <a:off x="-1883" y="2705"/>
                  <a:ext cx="320" cy="320"/>
                </a:xfrm>
                <a:custGeom>
                  <a:avLst/>
                  <a:gdLst>
                    <a:gd name="T0" fmla="*/ 320 w 641"/>
                    <a:gd name="T1" fmla="*/ 0 h 642"/>
                    <a:gd name="T2" fmla="*/ 372 w 641"/>
                    <a:gd name="T3" fmla="*/ 5 h 642"/>
                    <a:gd name="T4" fmla="*/ 421 w 641"/>
                    <a:gd name="T5" fmla="*/ 17 h 642"/>
                    <a:gd name="T6" fmla="*/ 468 w 641"/>
                    <a:gd name="T7" fmla="*/ 36 h 642"/>
                    <a:gd name="T8" fmla="*/ 510 w 641"/>
                    <a:gd name="T9" fmla="*/ 62 h 642"/>
                    <a:gd name="T10" fmla="*/ 547 w 641"/>
                    <a:gd name="T11" fmla="*/ 95 h 642"/>
                    <a:gd name="T12" fmla="*/ 578 w 641"/>
                    <a:gd name="T13" fmla="*/ 131 h 642"/>
                    <a:gd name="T14" fmla="*/ 605 w 641"/>
                    <a:gd name="T15" fmla="*/ 174 h 642"/>
                    <a:gd name="T16" fmla="*/ 625 w 641"/>
                    <a:gd name="T17" fmla="*/ 220 h 642"/>
                    <a:gd name="T18" fmla="*/ 637 w 641"/>
                    <a:gd name="T19" fmla="*/ 269 h 642"/>
                    <a:gd name="T20" fmla="*/ 641 w 641"/>
                    <a:gd name="T21" fmla="*/ 321 h 642"/>
                    <a:gd name="T22" fmla="*/ 637 w 641"/>
                    <a:gd name="T23" fmla="*/ 373 h 642"/>
                    <a:gd name="T24" fmla="*/ 625 w 641"/>
                    <a:gd name="T25" fmla="*/ 422 h 642"/>
                    <a:gd name="T26" fmla="*/ 605 w 641"/>
                    <a:gd name="T27" fmla="*/ 468 h 642"/>
                    <a:gd name="T28" fmla="*/ 578 w 641"/>
                    <a:gd name="T29" fmla="*/ 511 h 642"/>
                    <a:gd name="T30" fmla="*/ 547 w 641"/>
                    <a:gd name="T31" fmla="*/ 547 h 642"/>
                    <a:gd name="T32" fmla="*/ 510 w 641"/>
                    <a:gd name="T33" fmla="*/ 580 h 642"/>
                    <a:gd name="T34" fmla="*/ 468 w 641"/>
                    <a:gd name="T35" fmla="*/ 606 h 642"/>
                    <a:gd name="T36" fmla="*/ 421 w 641"/>
                    <a:gd name="T37" fmla="*/ 625 h 642"/>
                    <a:gd name="T38" fmla="*/ 372 w 641"/>
                    <a:gd name="T39" fmla="*/ 637 h 642"/>
                    <a:gd name="T40" fmla="*/ 320 w 641"/>
                    <a:gd name="T41" fmla="*/ 642 h 642"/>
                    <a:gd name="T42" fmla="*/ 269 w 641"/>
                    <a:gd name="T43" fmla="*/ 637 h 642"/>
                    <a:gd name="T44" fmla="*/ 220 w 641"/>
                    <a:gd name="T45" fmla="*/ 625 h 642"/>
                    <a:gd name="T46" fmla="*/ 173 w 641"/>
                    <a:gd name="T47" fmla="*/ 606 h 642"/>
                    <a:gd name="T48" fmla="*/ 131 w 641"/>
                    <a:gd name="T49" fmla="*/ 580 h 642"/>
                    <a:gd name="T50" fmla="*/ 94 w 641"/>
                    <a:gd name="T51" fmla="*/ 547 h 642"/>
                    <a:gd name="T52" fmla="*/ 61 w 641"/>
                    <a:gd name="T53" fmla="*/ 511 h 642"/>
                    <a:gd name="T54" fmla="*/ 35 w 641"/>
                    <a:gd name="T55" fmla="*/ 468 h 642"/>
                    <a:gd name="T56" fmla="*/ 16 w 641"/>
                    <a:gd name="T57" fmla="*/ 422 h 642"/>
                    <a:gd name="T58" fmla="*/ 4 w 641"/>
                    <a:gd name="T59" fmla="*/ 373 h 642"/>
                    <a:gd name="T60" fmla="*/ 0 w 641"/>
                    <a:gd name="T61" fmla="*/ 321 h 642"/>
                    <a:gd name="T62" fmla="*/ 4 w 641"/>
                    <a:gd name="T63" fmla="*/ 269 h 642"/>
                    <a:gd name="T64" fmla="*/ 16 w 641"/>
                    <a:gd name="T65" fmla="*/ 220 h 642"/>
                    <a:gd name="T66" fmla="*/ 35 w 641"/>
                    <a:gd name="T67" fmla="*/ 174 h 642"/>
                    <a:gd name="T68" fmla="*/ 61 w 641"/>
                    <a:gd name="T69" fmla="*/ 131 h 642"/>
                    <a:gd name="T70" fmla="*/ 94 w 641"/>
                    <a:gd name="T71" fmla="*/ 95 h 642"/>
                    <a:gd name="T72" fmla="*/ 131 w 641"/>
                    <a:gd name="T73" fmla="*/ 62 h 642"/>
                    <a:gd name="T74" fmla="*/ 173 w 641"/>
                    <a:gd name="T75" fmla="*/ 36 h 642"/>
                    <a:gd name="T76" fmla="*/ 220 w 641"/>
                    <a:gd name="T77" fmla="*/ 17 h 642"/>
                    <a:gd name="T78" fmla="*/ 269 w 641"/>
                    <a:gd name="T79" fmla="*/ 5 h 642"/>
                    <a:gd name="T80" fmla="*/ 320 w 641"/>
                    <a:gd name="T81" fmla="*/ 0 h 6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41" h="642">
                      <a:moveTo>
                        <a:pt x="320" y="0"/>
                      </a:moveTo>
                      <a:lnTo>
                        <a:pt x="372" y="5"/>
                      </a:lnTo>
                      <a:lnTo>
                        <a:pt x="421" y="17"/>
                      </a:lnTo>
                      <a:lnTo>
                        <a:pt x="468" y="36"/>
                      </a:lnTo>
                      <a:lnTo>
                        <a:pt x="510" y="62"/>
                      </a:lnTo>
                      <a:lnTo>
                        <a:pt x="547" y="95"/>
                      </a:lnTo>
                      <a:lnTo>
                        <a:pt x="578" y="131"/>
                      </a:lnTo>
                      <a:lnTo>
                        <a:pt x="605" y="174"/>
                      </a:lnTo>
                      <a:lnTo>
                        <a:pt x="625" y="220"/>
                      </a:lnTo>
                      <a:lnTo>
                        <a:pt x="637" y="269"/>
                      </a:lnTo>
                      <a:lnTo>
                        <a:pt x="641" y="321"/>
                      </a:lnTo>
                      <a:lnTo>
                        <a:pt x="637" y="373"/>
                      </a:lnTo>
                      <a:lnTo>
                        <a:pt x="625" y="422"/>
                      </a:lnTo>
                      <a:lnTo>
                        <a:pt x="605" y="468"/>
                      </a:lnTo>
                      <a:lnTo>
                        <a:pt x="578" y="511"/>
                      </a:lnTo>
                      <a:lnTo>
                        <a:pt x="547" y="547"/>
                      </a:lnTo>
                      <a:lnTo>
                        <a:pt x="510" y="580"/>
                      </a:lnTo>
                      <a:lnTo>
                        <a:pt x="468" y="606"/>
                      </a:lnTo>
                      <a:lnTo>
                        <a:pt x="421" y="625"/>
                      </a:lnTo>
                      <a:lnTo>
                        <a:pt x="372" y="637"/>
                      </a:lnTo>
                      <a:lnTo>
                        <a:pt x="320" y="642"/>
                      </a:lnTo>
                      <a:lnTo>
                        <a:pt x="269" y="637"/>
                      </a:lnTo>
                      <a:lnTo>
                        <a:pt x="220" y="625"/>
                      </a:lnTo>
                      <a:lnTo>
                        <a:pt x="173" y="606"/>
                      </a:lnTo>
                      <a:lnTo>
                        <a:pt x="131" y="580"/>
                      </a:lnTo>
                      <a:lnTo>
                        <a:pt x="94" y="547"/>
                      </a:lnTo>
                      <a:lnTo>
                        <a:pt x="61" y="511"/>
                      </a:lnTo>
                      <a:lnTo>
                        <a:pt x="35" y="468"/>
                      </a:lnTo>
                      <a:lnTo>
                        <a:pt x="16" y="422"/>
                      </a:lnTo>
                      <a:lnTo>
                        <a:pt x="4" y="373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6" y="220"/>
                      </a:lnTo>
                      <a:lnTo>
                        <a:pt x="35" y="174"/>
                      </a:lnTo>
                      <a:lnTo>
                        <a:pt x="61" y="131"/>
                      </a:lnTo>
                      <a:lnTo>
                        <a:pt x="94" y="95"/>
                      </a:lnTo>
                      <a:lnTo>
                        <a:pt x="131" y="62"/>
                      </a:lnTo>
                      <a:lnTo>
                        <a:pt x="173" y="36"/>
                      </a:lnTo>
                      <a:lnTo>
                        <a:pt x="220" y="17"/>
                      </a:lnTo>
                      <a:lnTo>
                        <a:pt x="269" y="5"/>
                      </a:lnTo>
                      <a:lnTo>
                        <a:pt x="3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" name="Freeform 60"/>
                <p:cNvSpPr>
                  <a:spLocks/>
                </p:cNvSpPr>
                <p:nvPr/>
              </p:nvSpPr>
              <p:spPr bwMode="auto">
                <a:xfrm>
                  <a:off x="40" y="2705"/>
                  <a:ext cx="320" cy="320"/>
                </a:xfrm>
                <a:custGeom>
                  <a:avLst/>
                  <a:gdLst>
                    <a:gd name="T0" fmla="*/ 319 w 639"/>
                    <a:gd name="T1" fmla="*/ 0 h 642"/>
                    <a:gd name="T2" fmla="*/ 372 w 639"/>
                    <a:gd name="T3" fmla="*/ 5 h 642"/>
                    <a:gd name="T4" fmla="*/ 421 w 639"/>
                    <a:gd name="T5" fmla="*/ 17 h 642"/>
                    <a:gd name="T6" fmla="*/ 466 w 639"/>
                    <a:gd name="T7" fmla="*/ 36 h 642"/>
                    <a:gd name="T8" fmla="*/ 508 w 639"/>
                    <a:gd name="T9" fmla="*/ 62 h 642"/>
                    <a:gd name="T10" fmla="*/ 547 w 639"/>
                    <a:gd name="T11" fmla="*/ 95 h 642"/>
                    <a:gd name="T12" fmla="*/ 578 w 639"/>
                    <a:gd name="T13" fmla="*/ 131 h 642"/>
                    <a:gd name="T14" fmla="*/ 604 w 639"/>
                    <a:gd name="T15" fmla="*/ 174 h 642"/>
                    <a:gd name="T16" fmla="*/ 623 w 639"/>
                    <a:gd name="T17" fmla="*/ 220 h 642"/>
                    <a:gd name="T18" fmla="*/ 635 w 639"/>
                    <a:gd name="T19" fmla="*/ 269 h 642"/>
                    <a:gd name="T20" fmla="*/ 639 w 639"/>
                    <a:gd name="T21" fmla="*/ 321 h 642"/>
                    <a:gd name="T22" fmla="*/ 635 w 639"/>
                    <a:gd name="T23" fmla="*/ 373 h 642"/>
                    <a:gd name="T24" fmla="*/ 623 w 639"/>
                    <a:gd name="T25" fmla="*/ 422 h 642"/>
                    <a:gd name="T26" fmla="*/ 604 w 639"/>
                    <a:gd name="T27" fmla="*/ 468 h 642"/>
                    <a:gd name="T28" fmla="*/ 578 w 639"/>
                    <a:gd name="T29" fmla="*/ 511 h 642"/>
                    <a:gd name="T30" fmla="*/ 547 w 639"/>
                    <a:gd name="T31" fmla="*/ 547 h 642"/>
                    <a:gd name="T32" fmla="*/ 508 w 639"/>
                    <a:gd name="T33" fmla="*/ 580 h 642"/>
                    <a:gd name="T34" fmla="*/ 466 w 639"/>
                    <a:gd name="T35" fmla="*/ 606 h 642"/>
                    <a:gd name="T36" fmla="*/ 421 w 639"/>
                    <a:gd name="T37" fmla="*/ 625 h 642"/>
                    <a:gd name="T38" fmla="*/ 372 w 639"/>
                    <a:gd name="T39" fmla="*/ 637 h 642"/>
                    <a:gd name="T40" fmla="*/ 319 w 639"/>
                    <a:gd name="T41" fmla="*/ 642 h 642"/>
                    <a:gd name="T42" fmla="*/ 267 w 639"/>
                    <a:gd name="T43" fmla="*/ 637 h 642"/>
                    <a:gd name="T44" fmla="*/ 218 w 639"/>
                    <a:gd name="T45" fmla="*/ 625 h 642"/>
                    <a:gd name="T46" fmla="*/ 173 w 639"/>
                    <a:gd name="T47" fmla="*/ 606 h 642"/>
                    <a:gd name="T48" fmla="*/ 131 w 639"/>
                    <a:gd name="T49" fmla="*/ 580 h 642"/>
                    <a:gd name="T50" fmla="*/ 93 w 639"/>
                    <a:gd name="T51" fmla="*/ 547 h 642"/>
                    <a:gd name="T52" fmla="*/ 61 w 639"/>
                    <a:gd name="T53" fmla="*/ 511 h 642"/>
                    <a:gd name="T54" fmla="*/ 35 w 639"/>
                    <a:gd name="T55" fmla="*/ 468 h 642"/>
                    <a:gd name="T56" fmla="*/ 16 w 639"/>
                    <a:gd name="T57" fmla="*/ 422 h 642"/>
                    <a:gd name="T58" fmla="*/ 4 w 639"/>
                    <a:gd name="T59" fmla="*/ 373 h 642"/>
                    <a:gd name="T60" fmla="*/ 0 w 639"/>
                    <a:gd name="T61" fmla="*/ 321 h 642"/>
                    <a:gd name="T62" fmla="*/ 4 w 639"/>
                    <a:gd name="T63" fmla="*/ 269 h 642"/>
                    <a:gd name="T64" fmla="*/ 16 w 639"/>
                    <a:gd name="T65" fmla="*/ 220 h 642"/>
                    <a:gd name="T66" fmla="*/ 35 w 639"/>
                    <a:gd name="T67" fmla="*/ 174 h 642"/>
                    <a:gd name="T68" fmla="*/ 61 w 639"/>
                    <a:gd name="T69" fmla="*/ 131 h 642"/>
                    <a:gd name="T70" fmla="*/ 93 w 639"/>
                    <a:gd name="T71" fmla="*/ 95 h 642"/>
                    <a:gd name="T72" fmla="*/ 131 w 639"/>
                    <a:gd name="T73" fmla="*/ 62 h 642"/>
                    <a:gd name="T74" fmla="*/ 173 w 639"/>
                    <a:gd name="T75" fmla="*/ 36 h 642"/>
                    <a:gd name="T76" fmla="*/ 218 w 639"/>
                    <a:gd name="T77" fmla="*/ 17 h 642"/>
                    <a:gd name="T78" fmla="*/ 267 w 639"/>
                    <a:gd name="T79" fmla="*/ 5 h 642"/>
                    <a:gd name="T80" fmla="*/ 319 w 639"/>
                    <a:gd name="T81" fmla="*/ 0 h 6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39" h="642">
                      <a:moveTo>
                        <a:pt x="319" y="0"/>
                      </a:moveTo>
                      <a:lnTo>
                        <a:pt x="372" y="5"/>
                      </a:lnTo>
                      <a:lnTo>
                        <a:pt x="421" y="17"/>
                      </a:lnTo>
                      <a:lnTo>
                        <a:pt x="466" y="36"/>
                      </a:lnTo>
                      <a:lnTo>
                        <a:pt x="508" y="62"/>
                      </a:lnTo>
                      <a:lnTo>
                        <a:pt x="547" y="95"/>
                      </a:lnTo>
                      <a:lnTo>
                        <a:pt x="578" y="131"/>
                      </a:lnTo>
                      <a:lnTo>
                        <a:pt x="604" y="174"/>
                      </a:lnTo>
                      <a:lnTo>
                        <a:pt x="623" y="220"/>
                      </a:lnTo>
                      <a:lnTo>
                        <a:pt x="635" y="269"/>
                      </a:lnTo>
                      <a:lnTo>
                        <a:pt x="639" y="321"/>
                      </a:lnTo>
                      <a:lnTo>
                        <a:pt x="635" y="373"/>
                      </a:lnTo>
                      <a:lnTo>
                        <a:pt x="623" y="422"/>
                      </a:lnTo>
                      <a:lnTo>
                        <a:pt x="604" y="468"/>
                      </a:lnTo>
                      <a:lnTo>
                        <a:pt x="578" y="511"/>
                      </a:lnTo>
                      <a:lnTo>
                        <a:pt x="547" y="547"/>
                      </a:lnTo>
                      <a:lnTo>
                        <a:pt x="508" y="580"/>
                      </a:lnTo>
                      <a:lnTo>
                        <a:pt x="466" y="606"/>
                      </a:lnTo>
                      <a:lnTo>
                        <a:pt x="421" y="625"/>
                      </a:lnTo>
                      <a:lnTo>
                        <a:pt x="372" y="637"/>
                      </a:lnTo>
                      <a:lnTo>
                        <a:pt x="319" y="642"/>
                      </a:lnTo>
                      <a:lnTo>
                        <a:pt x="267" y="637"/>
                      </a:lnTo>
                      <a:lnTo>
                        <a:pt x="218" y="625"/>
                      </a:lnTo>
                      <a:lnTo>
                        <a:pt x="173" y="606"/>
                      </a:lnTo>
                      <a:lnTo>
                        <a:pt x="131" y="580"/>
                      </a:lnTo>
                      <a:lnTo>
                        <a:pt x="93" y="547"/>
                      </a:lnTo>
                      <a:lnTo>
                        <a:pt x="61" y="511"/>
                      </a:lnTo>
                      <a:lnTo>
                        <a:pt x="35" y="468"/>
                      </a:lnTo>
                      <a:lnTo>
                        <a:pt x="16" y="422"/>
                      </a:lnTo>
                      <a:lnTo>
                        <a:pt x="4" y="373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6" y="220"/>
                      </a:lnTo>
                      <a:lnTo>
                        <a:pt x="35" y="174"/>
                      </a:lnTo>
                      <a:lnTo>
                        <a:pt x="61" y="131"/>
                      </a:lnTo>
                      <a:lnTo>
                        <a:pt x="93" y="95"/>
                      </a:lnTo>
                      <a:lnTo>
                        <a:pt x="131" y="62"/>
                      </a:lnTo>
                      <a:lnTo>
                        <a:pt x="173" y="36"/>
                      </a:lnTo>
                      <a:lnTo>
                        <a:pt x="218" y="17"/>
                      </a:lnTo>
                      <a:lnTo>
                        <a:pt x="267" y="5"/>
                      </a:lnTo>
                      <a:lnTo>
                        <a:pt x="31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38" name="Group 63"/>
              <p:cNvGrpSpPr>
                <a:grpSpLocks noChangeAspect="1"/>
              </p:cNvGrpSpPr>
              <p:nvPr/>
            </p:nvGrpSpPr>
            <p:grpSpPr bwMode="auto">
              <a:xfrm>
                <a:off x="2452339" y="4375322"/>
                <a:ext cx="1006718" cy="1294187"/>
                <a:chOff x="-1697" y="2004"/>
                <a:chExt cx="1744" cy="2242"/>
              </a:xfrm>
              <a:solidFill>
                <a:schemeClr val="bg1"/>
              </a:solidFill>
            </p:grpSpPr>
            <p:sp>
              <p:nvSpPr>
                <p:cNvPr id="39" name="Freeform 65"/>
                <p:cNvSpPr>
                  <a:spLocks/>
                </p:cNvSpPr>
                <p:nvPr/>
              </p:nvSpPr>
              <p:spPr bwMode="auto">
                <a:xfrm>
                  <a:off x="-1093" y="2708"/>
                  <a:ext cx="51" cy="141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5 w 104"/>
                    <a:gd name="T7" fmla="*/ 284 h 284"/>
                    <a:gd name="T8" fmla="*/ 55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5" y="284"/>
                      </a:lnTo>
                      <a:lnTo>
                        <a:pt x="55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66"/>
                <p:cNvSpPr>
                  <a:spLocks noEditPoints="1"/>
                </p:cNvSpPr>
                <p:nvPr/>
              </p:nvSpPr>
              <p:spPr bwMode="auto">
                <a:xfrm>
                  <a:off x="-1220" y="2707"/>
                  <a:ext cx="120" cy="143"/>
                </a:xfrm>
                <a:custGeom>
                  <a:avLst/>
                  <a:gdLst>
                    <a:gd name="T0" fmla="*/ 122 w 242"/>
                    <a:gd name="T1" fmla="*/ 38 h 286"/>
                    <a:gd name="T2" fmla="*/ 100 w 242"/>
                    <a:gd name="T3" fmla="*/ 41 h 286"/>
                    <a:gd name="T4" fmla="*/ 81 w 242"/>
                    <a:gd name="T5" fmla="*/ 49 h 286"/>
                    <a:gd name="T6" fmla="*/ 67 w 242"/>
                    <a:gd name="T7" fmla="*/ 63 h 286"/>
                    <a:gd name="T8" fmla="*/ 58 w 242"/>
                    <a:gd name="T9" fmla="*/ 83 h 286"/>
                    <a:gd name="T10" fmla="*/ 51 w 242"/>
                    <a:gd name="T11" fmla="*/ 110 h 286"/>
                    <a:gd name="T12" fmla="*/ 50 w 242"/>
                    <a:gd name="T13" fmla="*/ 143 h 286"/>
                    <a:gd name="T14" fmla="*/ 51 w 242"/>
                    <a:gd name="T15" fmla="*/ 176 h 286"/>
                    <a:gd name="T16" fmla="*/ 58 w 242"/>
                    <a:gd name="T17" fmla="*/ 202 h 286"/>
                    <a:gd name="T18" fmla="*/ 67 w 242"/>
                    <a:gd name="T19" fmla="*/ 222 h 286"/>
                    <a:gd name="T20" fmla="*/ 81 w 242"/>
                    <a:gd name="T21" fmla="*/ 237 h 286"/>
                    <a:gd name="T22" fmla="*/ 100 w 242"/>
                    <a:gd name="T23" fmla="*/ 245 h 286"/>
                    <a:gd name="T24" fmla="*/ 122 w 242"/>
                    <a:gd name="T25" fmla="*/ 248 h 286"/>
                    <a:gd name="T26" fmla="*/ 144 w 242"/>
                    <a:gd name="T27" fmla="*/ 245 h 286"/>
                    <a:gd name="T28" fmla="*/ 161 w 242"/>
                    <a:gd name="T29" fmla="*/ 237 h 286"/>
                    <a:gd name="T30" fmla="*/ 175 w 242"/>
                    <a:gd name="T31" fmla="*/ 222 h 286"/>
                    <a:gd name="T32" fmla="*/ 185 w 242"/>
                    <a:gd name="T33" fmla="*/ 202 h 286"/>
                    <a:gd name="T34" fmla="*/ 191 w 242"/>
                    <a:gd name="T35" fmla="*/ 176 h 286"/>
                    <a:gd name="T36" fmla="*/ 193 w 242"/>
                    <a:gd name="T37" fmla="*/ 143 h 286"/>
                    <a:gd name="T38" fmla="*/ 191 w 242"/>
                    <a:gd name="T39" fmla="*/ 110 h 286"/>
                    <a:gd name="T40" fmla="*/ 185 w 242"/>
                    <a:gd name="T41" fmla="*/ 83 h 286"/>
                    <a:gd name="T42" fmla="*/ 175 w 242"/>
                    <a:gd name="T43" fmla="*/ 63 h 286"/>
                    <a:gd name="T44" fmla="*/ 161 w 242"/>
                    <a:gd name="T45" fmla="*/ 49 h 286"/>
                    <a:gd name="T46" fmla="*/ 144 w 242"/>
                    <a:gd name="T47" fmla="*/ 41 h 286"/>
                    <a:gd name="T48" fmla="*/ 122 w 242"/>
                    <a:gd name="T49" fmla="*/ 38 h 286"/>
                    <a:gd name="T50" fmla="*/ 122 w 242"/>
                    <a:gd name="T51" fmla="*/ 0 h 286"/>
                    <a:gd name="T52" fmla="*/ 152 w 242"/>
                    <a:gd name="T53" fmla="*/ 3 h 286"/>
                    <a:gd name="T54" fmla="*/ 179 w 242"/>
                    <a:gd name="T55" fmla="*/ 12 h 286"/>
                    <a:gd name="T56" fmla="*/ 201 w 242"/>
                    <a:gd name="T57" fmla="*/ 27 h 286"/>
                    <a:gd name="T58" fmla="*/ 219 w 242"/>
                    <a:gd name="T59" fmla="*/ 48 h 286"/>
                    <a:gd name="T60" fmla="*/ 231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1 w 242"/>
                    <a:gd name="T69" fmla="*/ 211 h 286"/>
                    <a:gd name="T70" fmla="*/ 219 w 242"/>
                    <a:gd name="T71" fmla="*/ 239 h 286"/>
                    <a:gd name="T72" fmla="*/ 201 w 242"/>
                    <a:gd name="T73" fmla="*/ 259 h 286"/>
                    <a:gd name="T74" fmla="*/ 179 w 242"/>
                    <a:gd name="T75" fmla="*/ 274 h 286"/>
                    <a:gd name="T76" fmla="*/ 152 w 242"/>
                    <a:gd name="T77" fmla="*/ 284 h 286"/>
                    <a:gd name="T78" fmla="*/ 122 w 242"/>
                    <a:gd name="T79" fmla="*/ 286 h 286"/>
                    <a:gd name="T80" fmla="*/ 91 w 242"/>
                    <a:gd name="T81" fmla="*/ 284 h 286"/>
                    <a:gd name="T82" fmla="*/ 63 w 242"/>
                    <a:gd name="T83" fmla="*/ 274 h 286"/>
                    <a:gd name="T84" fmla="*/ 41 w 242"/>
                    <a:gd name="T85" fmla="*/ 259 h 286"/>
                    <a:gd name="T86" fmla="*/ 24 w 242"/>
                    <a:gd name="T87" fmla="*/ 239 h 286"/>
                    <a:gd name="T88" fmla="*/ 11 w 242"/>
                    <a:gd name="T89" fmla="*/ 211 h 286"/>
                    <a:gd name="T90" fmla="*/ 3 w 242"/>
                    <a:gd name="T91" fmla="*/ 180 h 286"/>
                    <a:gd name="T92" fmla="*/ 0 w 242"/>
                    <a:gd name="T93" fmla="*/ 143 h 286"/>
                    <a:gd name="T94" fmla="*/ 3 w 242"/>
                    <a:gd name="T95" fmla="*/ 106 h 286"/>
                    <a:gd name="T96" fmla="*/ 11 w 242"/>
                    <a:gd name="T97" fmla="*/ 75 h 286"/>
                    <a:gd name="T98" fmla="*/ 24 w 242"/>
                    <a:gd name="T99" fmla="*/ 48 h 286"/>
                    <a:gd name="T100" fmla="*/ 41 w 242"/>
                    <a:gd name="T101" fmla="*/ 27 h 286"/>
                    <a:gd name="T102" fmla="*/ 63 w 242"/>
                    <a:gd name="T103" fmla="*/ 12 h 286"/>
                    <a:gd name="T104" fmla="*/ 91 w 242"/>
                    <a:gd name="T105" fmla="*/ 3 h 286"/>
                    <a:gd name="T106" fmla="*/ 122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2" y="38"/>
                      </a:moveTo>
                      <a:lnTo>
                        <a:pt x="100" y="41"/>
                      </a:lnTo>
                      <a:lnTo>
                        <a:pt x="81" y="49"/>
                      </a:lnTo>
                      <a:lnTo>
                        <a:pt x="67" y="63"/>
                      </a:lnTo>
                      <a:lnTo>
                        <a:pt x="58" y="83"/>
                      </a:lnTo>
                      <a:lnTo>
                        <a:pt x="51" y="110"/>
                      </a:lnTo>
                      <a:lnTo>
                        <a:pt x="50" y="143"/>
                      </a:lnTo>
                      <a:lnTo>
                        <a:pt x="51" y="176"/>
                      </a:lnTo>
                      <a:lnTo>
                        <a:pt x="58" y="202"/>
                      </a:lnTo>
                      <a:lnTo>
                        <a:pt x="67" y="222"/>
                      </a:lnTo>
                      <a:lnTo>
                        <a:pt x="81" y="237"/>
                      </a:lnTo>
                      <a:lnTo>
                        <a:pt x="100" y="245"/>
                      </a:lnTo>
                      <a:lnTo>
                        <a:pt x="122" y="248"/>
                      </a:lnTo>
                      <a:lnTo>
                        <a:pt x="144" y="245"/>
                      </a:lnTo>
                      <a:lnTo>
                        <a:pt x="161" y="237"/>
                      </a:lnTo>
                      <a:lnTo>
                        <a:pt x="175" y="222"/>
                      </a:lnTo>
                      <a:lnTo>
                        <a:pt x="185" y="202"/>
                      </a:lnTo>
                      <a:lnTo>
                        <a:pt x="191" y="176"/>
                      </a:lnTo>
                      <a:lnTo>
                        <a:pt x="193" y="143"/>
                      </a:lnTo>
                      <a:lnTo>
                        <a:pt x="191" y="110"/>
                      </a:lnTo>
                      <a:lnTo>
                        <a:pt x="185" y="83"/>
                      </a:lnTo>
                      <a:lnTo>
                        <a:pt x="175" y="63"/>
                      </a:lnTo>
                      <a:lnTo>
                        <a:pt x="161" y="49"/>
                      </a:lnTo>
                      <a:lnTo>
                        <a:pt x="144" y="41"/>
                      </a:lnTo>
                      <a:lnTo>
                        <a:pt x="122" y="38"/>
                      </a:lnTo>
                      <a:close/>
                      <a:moveTo>
                        <a:pt x="122" y="0"/>
                      </a:moveTo>
                      <a:lnTo>
                        <a:pt x="152" y="3"/>
                      </a:lnTo>
                      <a:lnTo>
                        <a:pt x="179" y="12"/>
                      </a:lnTo>
                      <a:lnTo>
                        <a:pt x="201" y="27"/>
                      </a:lnTo>
                      <a:lnTo>
                        <a:pt x="219" y="48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1" y="211"/>
                      </a:lnTo>
                      <a:lnTo>
                        <a:pt x="219" y="239"/>
                      </a:lnTo>
                      <a:lnTo>
                        <a:pt x="201" y="259"/>
                      </a:lnTo>
                      <a:lnTo>
                        <a:pt x="179" y="274"/>
                      </a:lnTo>
                      <a:lnTo>
                        <a:pt x="152" y="284"/>
                      </a:lnTo>
                      <a:lnTo>
                        <a:pt x="122" y="286"/>
                      </a:lnTo>
                      <a:lnTo>
                        <a:pt x="91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4" y="239"/>
                      </a:lnTo>
                      <a:lnTo>
                        <a:pt x="11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4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1" y="3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67"/>
                <p:cNvSpPr>
                  <a:spLocks/>
                </p:cNvSpPr>
                <p:nvPr/>
              </p:nvSpPr>
              <p:spPr bwMode="auto">
                <a:xfrm>
                  <a:off x="-887" y="2273"/>
                  <a:ext cx="51" cy="142"/>
                </a:xfrm>
                <a:custGeom>
                  <a:avLst/>
                  <a:gdLst>
                    <a:gd name="T0" fmla="*/ 0 w 102"/>
                    <a:gd name="T1" fmla="*/ 0 h 285"/>
                    <a:gd name="T2" fmla="*/ 102 w 102"/>
                    <a:gd name="T3" fmla="*/ 0 h 285"/>
                    <a:gd name="T4" fmla="*/ 102 w 102"/>
                    <a:gd name="T5" fmla="*/ 285 h 285"/>
                    <a:gd name="T6" fmla="*/ 55 w 102"/>
                    <a:gd name="T7" fmla="*/ 285 h 285"/>
                    <a:gd name="T8" fmla="*/ 55 w 102"/>
                    <a:gd name="T9" fmla="*/ 44 h 285"/>
                    <a:gd name="T10" fmla="*/ 0 w 102"/>
                    <a:gd name="T11" fmla="*/ 44 h 285"/>
                    <a:gd name="T12" fmla="*/ 0 w 102"/>
                    <a:gd name="T13" fmla="*/ 0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2" h="285">
                      <a:moveTo>
                        <a:pt x="0" y="0"/>
                      </a:moveTo>
                      <a:lnTo>
                        <a:pt x="102" y="0"/>
                      </a:lnTo>
                      <a:lnTo>
                        <a:pt x="102" y="285"/>
                      </a:lnTo>
                      <a:lnTo>
                        <a:pt x="55" y="285"/>
                      </a:lnTo>
                      <a:lnTo>
                        <a:pt x="55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68"/>
                <p:cNvSpPr>
                  <a:spLocks/>
                </p:cNvSpPr>
                <p:nvPr/>
              </p:nvSpPr>
              <p:spPr bwMode="auto">
                <a:xfrm>
                  <a:off x="-548" y="2490"/>
                  <a:ext cx="51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6 w 104"/>
                    <a:gd name="T7" fmla="*/ 284 h 284"/>
                    <a:gd name="T8" fmla="*/ 56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69"/>
                <p:cNvSpPr>
                  <a:spLocks noEditPoints="1"/>
                </p:cNvSpPr>
                <p:nvPr/>
              </p:nvSpPr>
              <p:spPr bwMode="auto">
                <a:xfrm>
                  <a:off x="-808" y="2272"/>
                  <a:ext cx="120" cy="144"/>
                </a:xfrm>
                <a:custGeom>
                  <a:avLst/>
                  <a:gdLst>
                    <a:gd name="T0" fmla="*/ 120 w 242"/>
                    <a:gd name="T1" fmla="*/ 38 h 288"/>
                    <a:gd name="T2" fmla="*/ 99 w 242"/>
                    <a:gd name="T3" fmla="*/ 41 h 288"/>
                    <a:gd name="T4" fmla="*/ 81 w 242"/>
                    <a:gd name="T5" fmla="*/ 49 h 288"/>
                    <a:gd name="T6" fmla="*/ 67 w 242"/>
                    <a:gd name="T7" fmla="*/ 64 h 288"/>
                    <a:gd name="T8" fmla="*/ 56 w 242"/>
                    <a:gd name="T9" fmla="*/ 84 h 288"/>
                    <a:gd name="T10" fmla="*/ 51 w 242"/>
                    <a:gd name="T11" fmla="*/ 110 h 288"/>
                    <a:gd name="T12" fmla="*/ 49 w 242"/>
                    <a:gd name="T13" fmla="*/ 144 h 288"/>
                    <a:gd name="T14" fmla="*/ 51 w 242"/>
                    <a:gd name="T15" fmla="*/ 177 h 288"/>
                    <a:gd name="T16" fmla="*/ 56 w 242"/>
                    <a:gd name="T17" fmla="*/ 203 h 288"/>
                    <a:gd name="T18" fmla="*/ 67 w 242"/>
                    <a:gd name="T19" fmla="*/ 224 h 288"/>
                    <a:gd name="T20" fmla="*/ 81 w 242"/>
                    <a:gd name="T21" fmla="*/ 239 h 288"/>
                    <a:gd name="T22" fmla="*/ 99 w 242"/>
                    <a:gd name="T23" fmla="*/ 247 h 288"/>
                    <a:gd name="T24" fmla="*/ 120 w 242"/>
                    <a:gd name="T25" fmla="*/ 249 h 288"/>
                    <a:gd name="T26" fmla="*/ 142 w 242"/>
                    <a:gd name="T27" fmla="*/ 247 h 288"/>
                    <a:gd name="T28" fmla="*/ 160 w 242"/>
                    <a:gd name="T29" fmla="*/ 239 h 288"/>
                    <a:gd name="T30" fmla="*/ 174 w 242"/>
                    <a:gd name="T31" fmla="*/ 224 h 288"/>
                    <a:gd name="T32" fmla="*/ 185 w 242"/>
                    <a:gd name="T33" fmla="*/ 203 h 288"/>
                    <a:gd name="T34" fmla="*/ 190 w 242"/>
                    <a:gd name="T35" fmla="*/ 177 h 288"/>
                    <a:gd name="T36" fmla="*/ 193 w 242"/>
                    <a:gd name="T37" fmla="*/ 144 h 288"/>
                    <a:gd name="T38" fmla="*/ 190 w 242"/>
                    <a:gd name="T39" fmla="*/ 110 h 288"/>
                    <a:gd name="T40" fmla="*/ 185 w 242"/>
                    <a:gd name="T41" fmla="*/ 84 h 288"/>
                    <a:gd name="T42" fmla="*/ 174 w 242"/>
                    <a:gd name="T43" fmla="*/ 64 h 288"/>
                    <a:gd name="T44" fmla="*/ 160 w 242"/>
                    <a:gd name="T45" fmla="*/ 49 h 288"/>
                    <a:gd name="T46" fmla="*/ 142 w 242"/>
                    <a:gd name="T47" fmla="*/ 41 h 288"/>
                    <a:gd name="T48" fmla="*/ 120 w 242"/>
                    <a:gd name="T49" fmla="*/ 38 h 288"/>
                    <a:gd name="T50" fmla="*/ 120 w 242"/>
                    <a:gd name="T51" fmla="*/ 0 h 288"/>
                    <a:gd name="T52" fmla="*/ 152 w 242"/>
                    <a:gd name="T53" fmla="*/ 4 h 288"/>
                    <a:gd name="T54" fmla="*/ 179 w 242"/>
                    <a:gd name="T55" fmla="*/ 12 h 288"/>
                    <a:gd name="T56" fmla="*/ 201 w 242"/>
                    <a:gd name="T57" fmla="*/ 29 h 288"/>
                    <a:gd name="T58" fmla="*/ 219 w 242"/>
                    <a:gd name="T59" fmla="*/ 49 h 288"/>
                    <a:gd name="T60" fmla="*/ 231 w 242"/>
                    <a:gd name="T61" fmla="*/ 75 h 288"/>
                    <a:gd name="T62" fmla="*/ 239 w 242"/>
                    <a:gd name="T63" fmla="*/ 106 h 288"/>
                    <a:gd name="T64" fmla="*/ 242 w 242"/>
                    <a:gd name="T65" fmla="*/ 144 h 288"/>
                    <a:gd name="T66" fmla="*/ 239 w 242"/>
                    <a:gd name="T67" fmla="*/ 181 h 288"/>
                    <a:gd name="T68" fmla="*/ 231 w 242"/>
                    <a:gd name="T69" fmla="*/ 213 h 288"/>
                    <a:gd name="T70" fmla="*/ 219 w 242"/>
                    <a:gd name="T71" fmla="*/ 239 h 288"/>
                    <a:gd name="T72" fmla="*/ 201 w 242"/>
                    <a:gd name="T73" fmla="*/ 260 h 288"/>
                    <a:gd name="T74" fmla="*/ 179 w 242"/>
                    <a:gd name="T75" fmla="*/ 275 h 288"/>
                    <a:gd name="T76" fmla="*/ 152 w 242"/>
                    <a:gd name="T77" fmla="*/ 284 h 288"/>
                    <a:gd name="T78" fmla="*/ 120 w 242"/>
                    <a:gd name="T79" fmla="*/ 288 h 288"/>
                    <a:gd name="T80" fmla="*/ 89 w 242"/>
                    <a:gd name="T81" fmla="*/ 284 h 288"/>
                    <a:gd name="T82" fmla="*/ 63 w 242"/>
                    <a:gd name="T83" fmla="*/ 275 h 288"/>
                    <a:gd name="T84" fmla="*/ 40 w 242"/>
                    <a:gd name="T85" fmla="*/ 260 h 288"/>
                    <a:gd name="T86" fmla="*/ 22 w 242"/>
                    <a:gd name="T87" fmla="*/ 239 h 288"/>
                    <a:gd name="T88" fmla="*/ 10 w 242"/>
                    <a:gd name="T89" fmla="*/ 213 h 288"/>
                    <a:gd name="T90" fmla="*/ 2 w 242"/>
                    <a:gd name="T91" fmla="*/ 181 h 288"/>
                    <a:gd name="T92" fmla="*/ 0 w 242"/>
                    <a:gd name="T93" fmla="*/ 144 h 288"/>
                    <a:gd name="T94" fmla="*/ 2 w 242"/>
                    <a:gd name="T95" fmla="*/ 106 h 288"/>
                    <a:gd name="T96" fmla="*/ 10 w 242"/>
                    <a:gd name="T97" fmla="*/ 75 h 288"/>
                    <a:gd name="T98" fmla="*/ 22 w 242"/>
                    <a:gd name="T99" fmla="*/ 49 h 288"/>
                    <a:gd name="T100" fmla="*/ 40 w 242"/>
                    <a:gd name="T101" fmla="*/ 29 h 288"/>
                    <a:gd name="T102" fmla="*/ 63 w 242"/>
                    <a:gd name="T103" fmla="*/ 12 h 288"/>
                    <a:gd name="T104" fmla="*/ 89 w 242"/>
                    <a:gd name="T105" fmla="*/ 4 h 288"/>
                    <a:gd name="T106" fmla="*/ 120 w 242"/>
                    <a:gd name="T107" fmla="*/ 0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8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4"/>
                      </a:lnTo>
                      <a:lnTo>
                        <a:pt x="56" y="84"/>
                      </a:lnTo>
                      <a:lnTo>
                        <a:pt x="51" y="110"/>
                      </a:lnTo>
                      <a:lnTo>
                        <a:pt x="49" y="144"/>
                      </a:lnTo>
                      <a:lnTo>
                        <a:pt x="51" y="177"/>
                      </a:lnTo>
                      <a:lnTo>
                        <a:pt x="56" y="203"/>
                      </a:lnTo>
                      <a:lnTo>
                        <a:pt x="67" y="224"/>
                      </a:lnTo>
                      <a:lnTo>
                        <a:pt x="81" y="239"/>
                      </a:lnTo>
                      <a:lnTo>
                        <a:pt x="99" y="247"/>
                      </a:lnTo>
                      <a:lnTo>
                        <a:pt x="120" y="249"/>
                      </a:lnTo>
                      <a:lnTo>
                        <a:pt x="142" y="247"/>
                      </a:lnTo>
                      <a:lnTo>
                        <a:pt x="160" y="239"/>
                      </a:lnTo>
                      <a:lnTo>
                        <a:pt x="174" y="224"/>
                      </a:lnTo>
                      <a:lnTo>
                        <a:pt x="185" y="203"/>
                      </a:lnTo>
                      <a:lnTo>
                        <a:pt x="190" y="177"/>
                      </a:lnTo>
                      <a:lnTo>
                        <a:pt x="193" y="144"/>
                      </a:lnTo>
                      <a:lnTo>
                        <a:pt x="190" y="110"/>
                      </a:lnTo>
                      <a:lnTo>
                        <a:pt x="185" y="84"/>
                      </a:lnTo>
                      <a:lnTo>
                        <a:pt x="174" y="64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4"/>
                      </a:lnTo>
                      <a:lnTo>
                        <a:pt x="179" y="12"/>
                      </a:lnTo>
                      <a:lnTo>
                        <a:pt x="201" y="29"/>
                      </a:lnTo>
                      <a:lnTo>
                        <a:pt x="219" y="49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4"/>
                      </a:lnTo>
                      <a:lnTo>
                        <a:pt x="239" y="181"/>
                      </a:lnTo>
                      <a:lnTo>
                        <a:pt x="231" y="213"/>
                      </a:lnTo>
                      <a:lnTo>
                        <a:pt x="219" y="239"/>
                      </a:lnTo>
                      <a:lnTo>
                        <a:pt x="201" y="260"/>
                      </a:lnTo>
                      <a:lnTo>
                        <a:pt x="179" y="275"/>
                      </a:lnTo>
                      <a:lnTo>
                        <a:pt x="152" y="284"/>
                      </a:lnTo>
                      <a:lnTo>
                        <a:pt x="120" y="288"/>
                      </a:lnTo>
                      <a:lnTo>
                        <a:pt x="89" y="284"/>
                      </a:lnTo>
                      <a:lnTo>
                        <a:pt x="63" y="275"/>
                      </a:lnTo>
                      <a:lnTo>
                        <a:pt x="40" y="260"/>
                      </a:lnTo>
                      <a:lnTo>
                        <a:pt x="22" y="239"/>
                      </a:lnTo>
                      <a:lnTo>
                        <a:pt x="10" y="213"/>
                      </a:lnTo>
                      <a:lnTo>
                        <a:pt x="2" y="181"/>
                      </a:lnTo>
                      <a:lnTo>
                        <a:pt x="0" y="144"/>
                      </a:lnTo>
                      <a:lnTo>
                        <a:pt x="2" y="106"/>
                      </a:lnTo>
                      <a:lnTo>
                        <a:pt x="10" y="75"/>
                      </a:lnTo>
                      <a:lnTo>
                        <a:pt x="22" y="49"/>
                      </a:lnTo>
                      <a:lnTo>
                        <a:pt x="40" y="29"/>
                      </a:lnTo>
                      <a:lnTo>
                        <a:pt x="63" y="12"/>
                      </a:lnTo>
                      <a:lnTo>
                        <a:pt x="89" y="4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70"/>
                <p:cNvSpPr>
                  <a:spLocks noEditPoints="1"/>
                </p:cNvSpPr>
                <p:nvPr/>
              </p:nvSpPr>
              <p:spPr bwMode="auto">
                <a:xfrm>
                  <a:off x="-1697" y="2004"/>
                  <a:ext cx="1744" cy="2242"/>
                </a:xfrm>
                <a:custGeom>
                  <a:avLst/>
                  <a:gdLst>
                    <a:gd name="T0" fmla="*/ 2948 w 3488"/>
                    <a:gd name="T1" fmla="*/ 1170 h 4484"/>
                    <a:gd name="T2" fmla="*/ 898 w 3488"/>
                    <a:gd name="T3" fmla="*/ 1214 h 4484"/>
                    <a:gd name="T4" fmla="*/ 1000 w 3488"/>
                    <a:gd name="T5" fmla="*/ 1147 h 4484"/>
                    <a:gd name="T6" fmla="*/ 2524 w 3488"/>
                    <a:gd name="T7" fmla="*/ 1035 h 4484"/>
                    <a:gd name="T8" fmla="*/ 2537 w 3488"/>
                    <a:gd name="T9" fmla="*/ 1208 h 4484"/>
                    <a:gd name="T10" fmla="*/ 2646 w 3488"/>
                    <a:gd name="T11" fmla="*/ 1147 h 4484"/>
                    <a:gd name="T12" fmla="*/ 2577 w 3488"/>
                    <a:gd name="T13" fmla="*/ 1009 h 4484"/>
                    <a:gd name="T14" fmla="*/ 1125 w 3488"/>
                    <a:gd name="T15" fmla="*/ 1114 h 4484"/>
                    <a:gd name="T16" fmla="*/ 1219 w 3488"/>
                    <a:gd name="T17" fmla="*/ 1218 h 4484"/>
                    <a:gd name="T18" fmla="*/ 1262 w 3488"/>
                    <a:gd name="T19" fmla="*/ 1055 h 4484"/>
                    <a:gd name="T20" fmla="*/ 2095 w 3488"/>
                    <a:gd name="T21" fmla="*/ 713 h 4484"/>
                    <a:gd name="T22" fmla="*/ 2204 w 3488"/>
                    <a:gd name="T23" fmla="*/ 775 h 4484"/>
                    <a:gd name="T24" fmla="*/ 2117 w 3488"/>
                    <a:gd name="T25" fmla="*/ 680 h 4484"/>
                    <a:gd name="T26" fmla="*/ 1401 w 3488"/>
                    <a:gd name="T27" fmla="*/ 535 h 4484"/>
                    <a:gd name="T28" fmla="*/ 1206 w 3488"/>
                    <a:gd name="T29" fmla="*/ 757 h 4484"/>
                    <a:gd name="T30" fmla="*/ 1229 w 3488"/>
                    <a:gd name="T31" fmla="*/ 974 h 4484"/>
                    <a:gd name="T32" fmla="*/ 1316 w 3488"/>
                    <a:gd name="T33" fmla="*/ 1151 h 4484"/>
                    <a:gd name="T34" fmla="*/ 1166 w 3488"/>
                    <a:gd name="T35" fmla="*/ 1255 h 4484"/>
                    <a:gd name="T36" fmla="*/ 1079 w 3488"/>
                    <a:gd name="T37" fmla="*/ 1084 h 4484"/>
                    <a:gd name="T38" fmla="*/ 1044 w 3488"/>
                    <a:gd name="T39" fmla="*/ 1058 h 4484"/>
                    <a:gd name="T40" fmla="*/ 988 w 3488"/>
                    <a:gd name="T41" fmla="*/ 1245 h 4484"/>
                    <a:gd name="T42" fmla="*/ 853 w 3488"/>
                    <a:gd name="T43" fmla="*/ 1324 h 4484"/>
                    <a:gd name="T44" fmla="*/ 997 w 3488"/>
                    <a:gd name="T45" fmla="*/ 1672 h 4484"/>
                    <a:gd name="T46" fmla="*/ 2663 w 3488"/>
                    <a:gd name="T47" fmla="*/ 1752 h 4484"/>
                    <a:gd name="T48" fmla="*/ 2910 w 3488"/>
                    <a:gd name="T49" fmla="*/ 1450 h 4484"/>
                    <a:gd name="T50" fmla="*/ 2998 w 3488"/>
                    <a:gd name="T51" fmla="*/ 1415 h 4484"/>
                    <a:gd name="T52" fmla="*/ 2890 w 3488"/>
                    <a:gd name="T53" fmla="*/ 1208 h 4484"/>
                    <a:gd name="T54" fmla="*/ 2813 w 3488"/>
                    <a:gd name="T55" fmla="*/ 1034 h 4484"/>
                    <a:gd name="T56" fmla="*/ 2620 w 3488"/>
                    <a:gd name="T57" fmla="*/ 978 h 4484"/>
                    <a:gd name="T58" fmla="*/ 2695 w 3488"/>
                    <a:gd name="T59" fmla="*/ 1151 h 4484"/>
                    <a:gd name="T60" fmla="*/ 2545 w 3488"/>
                    <a:gd name="T61" fmla="*/ 1255 h 4484"/>
                    <a:gd name="T62" fmla="*/ 2458 w 3488"/>
                    <a:gd name="T63" fmla="*/ 1077 h 4484"/>
                    <a:gd name="T64" fmla="*/ 2503 w 3488"/>
                    <a:gd name="T65" fmla="*/ 885 h 4484"/>
                    <a:gd name="T66" fmla="*/ 2319 w 3488"/>
                    <a:gd name="T67" fmla="*/ 736 h 4484"/>
                    <a:gd name="T68" fmla="*/ 2165 w 3488"/>
                    <a:gd name="T69" fmla="*/ 824 h 4484"/>
                    <a:gd name="T70" fmla="*/ 2045 w 3488"/>
                    <a:gd name="T71" fmla="*/ 680 h 4484"/>
                    <a:gd name="T72" fmla="*/ 1862 w 3488"/>
                    <a:gd name="T73" fmla="*/ 483 h 4484"/>
                    <a:gd name="T74" fmla="*/ 2002 w 3488"/>
                    <a:gd name="T75" fmla="*/ 15 h 4484"/>
                    <a:gd name="T76" fmla="*/ 2652 w 3488"/>
                    <a:gd name="T77" fmla="*/ 240 h 4484"/>
                    <a:gd name="T78" fmla="*/ 3088 w 3488"/>
                    <a:gd name="T79" fmla="*/ 577 h 4484"/>
                    <a:gd name="T80" fmla="*/ 3365 w 3488"/>
                    <a:gd name="T81" fmla="*/ 1012 h 4484"/>
                    <a:gd name="T82" fmla="*/ 3488 w 3488"/>
                    <a:gd name="T83" fmla="*/ 1616 h 4484"/>
                    <a:gd name="T84" fmla="*/ 3335 w 3488"/>
                    <a:gd name="T85" fmla="*/ 2223 h 4484"/>
                    <a:gd name="T86" fmla="*/ 3021 w 3488"/>
                    <a:gd name="T87" fmla="*/ 2708 h 4484"/>
                    <a:gd name="T88" fmla="*/ 2863 w 3488"/>
                    <a:gd name="T89" fmla="*/ 3147 h 4484"/>
                    <a:gd name="T90" fmla="*/ 2871 w 3488"/>
                    <a:gd name="T91" fmla="*/ 3408 h 4484"/>
                    <a:gd name="T92" fmla="*/ 1682 w 3488"/>
                    <a:gd name="T93" fmla="*/ 4473 h 4484"/>
                    <a:gd name="T94" fmla="*/ 1552 w 3488"/>
                    <a:gd name="T95" fmla="*/ 4137 h 4484"/>
                    <a:gd name="T96" fmla="*/ 1310 w 3488"/>
                    <a:gd name="T97" fmla="*/ 3755 h 4484"/>
                    <a:gd name="T98" fmla="*/ 1069 w 3488"/>
                    <a:gd name="T99" fmla="*/ 3672 h 4484"/>
                    <a:gd name="T100" fmla="*/ 615 w 3488"/>
                    <a:gd name="T101" fmla="*/ 3705 h 4484"/>
                    <a:gd name="T102" fmla="*/ 385 w 3488"/>
                    <a:gd name="T103" fmla="*/ 3573 h 4484"/>
                    <a:gd name="T104" fmla="*/ 311 w 3488"/>
                    <a:gd name="T105" fmla="*/ 3097 h 4484"/>
                    <a:gd name="T106" fmla="*/ 173 w 3488"/>
                    <a:gd name="T107" fmla="*/ 2733 h 4484"/>
                    <a:gd name="T108" fmla="*/ 1 w 3488"/>
                    <a:gd name="T109" fmla="*/ 2527 h 4484"/>
                    <a:gd name="T110" fmla="*/ 72 w 3488"/>
                    <a:gd name="T111" fmla="*/ 2291 h 4484"/>
                    <a:gd name="T112" fmla="*/ 217 w 3488"/>
                    <a:gd name="T113" fmla="*/ 2024 h 4484"/>
                    <a:gd name="T114" fmla="*/ 236 w 3488"/>
                    <a:gd name="T115" fmla="*/ 1691 h 4484"/>
                    <a:gd name="T116" fmla="*/ 214 w 3488"/>
                    <a:gd name="T117" fmla="*/ 1143 h 4484"/>
                    <a:gd name="T118" fmla="*/ 450 w 3488"/>
                    <a:gd name="T119" fmla="*/ 631 h 4484"/>
                    <a:gd name="T120" fmla="*/ 1074 w 3488"/>
                    <a:gd name="T121" fmla="*/ 166 h 44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488" h="4484">
                      <a:moveTo>
                        <a:pt x="2916" y="1125"/>
                      </a:moveTo>
                      <a:lnTo>
                        <a:pt x="2920" y="1155"/>
                      </a:lnTo>
                      <a:lnTo>
                        <a:pt x="2927" y="1180"/>
                      </a:lnTo>
                      <a:lnTo>
                        <a:pt x="2938" y="1199"/>
                      </a:lnTo>
                      <a:lnTo>
                        <a:pt x="2953" y="1211"/>
                      </a:lnTo>
                      <a:lnTo>
                        <a:pt x="2972" y="1219"/>
                      </a:lnTo>
                      <a:lnTo>
                        <a:pt x="2948" y="1170"/>
                      </a:lnTo>
                      <a:lnTo>
                        <a:pt x="2916" y="1125"/>
                      </a:lnTo>
                      <a:close/>
                      <a:moveTo>
                        <a:pt x="996" y="1062"/>
                      </a:moveTo>
                      <a:lnTo>
                        <a:pt x="963" y="1094"/>
                      </a:lnTo>
                      <a:lnTo>
                        <a:pt x="933" y="1126"/>
                      </a:lnTo>
                      <a:lnTo>
                        <a:pt x="907" y="1165"/>
                      </a:lnTo>
                      <a:lnTo>
                        <a:pt x="885" y="1204"/>
                      </a:lnTo>
                      <a:lnTo>
                        <a:pt x="898" y="1214"/>
                      </a:lnTo>
                      <a:lnTo>
                        <a:pt x="913" y="1218"/>
                      </a:lnTo>
                      <a:lnTo>
                        <a:pt x="930" y="1220"/>
                      </a:lnTo>
                      <a:lnTo>
                        <a:pt x="952" y="1218"/>
                      </a:lnTo>
                      <a:lnTo>
                        <a:pt x="970" y="1208"/>
                      </a:lnTo>
                      <a:lnTo>
                        <a:pt x="983" y="1195"/>
                      </a:lnTo>
                      <a:lnTo>
                        <a:pt x="994" y="1174"/>
                      </a:lnTo>
                      <a:lnTo>
                        <a:pt x="1000" y="1147"/>
                      </a:lnTo>
                      <a:lnTo>
                        <a:pt x="1001" y="1114"/>
                      </a:lnTo>
                      <a:lnTo>
                        <a:pt x="1000" y="1087"/>
                      </a:lnTo>
                      <a:lnTo>
                        <a:pt x="996" y="1062"/>
                      </a:lnTo>
                      <a:close/>
                      <a:moveTo>
                        <a:pt x="2577" y="1009"/>
                      </a:moveTo>
                      <a:lnTo>
                        <a:pt x="2555" y="1012"/>
                      </a:lnTo>
                      <a:lnTo>
                        <a:pt x="2537" y="1020"/>
                      </a:lnTo>
                      <a:lnTo>
                        <a:pt x="2524" y="1035"/>
                      </a:lnTo>
                      <a:lnTo>
                        <a:pt x="2513" y="1055"/>
                      </a:lnTo>
                      <a:lnTo>
                        <a:pt x="2507" y="1081"/>
                      </a:lnTo>
                      <a:lnTo>
                        <a:pt x="2506" y="1114"/>
                      </a:lnTo>
                      <a:lnTo>
                        <a:pt x="2507" y="1147"/>
                      </a:lnTo>
                      <a:lnTo>
                        <a:pt x="2513" y="1174"/>
                      </a:lnTo>
                      <a:lnTo>
                        <a:pt x="2524" y="1195"/>
                      </a:lnTo>
                      <a:lnTo>
                        <a:pt x="2537" y="1208"/>
                      </a:lnTo>
                      <a:lnTo>
                        <a:pt x="2555" y="1218"/>
                      </a:lnTo>
                      <a:lnTo>
                        <a:pt x="2577" y="1220"/>
                      </a:lnTo>
                      <a:lnTo>
                        <a:pt x="2599" y="1218"/>
                      </a:lnTo>
                      <a:lnTo>
                        <a:pt x="2616" y="1208"/>
                      </a:lnTo>
                      <a:lnTo>
                        <a:pt x="2630" y="1195"/>
                      </a:lnTo>
                      <a:lnTo>
                        <a:pt x="2641" y="1174"/>
                      </a:lnTo>
                      <a:lnTo>
                        <a:pt x="2646" y="1147"/>
                      </a:lnTo>
                      <a:lnTo>
                        <a:pt x="2649" y="1114"/>
                      </a:lnTo>
                      <a:lnTo>
                        <a:pt x="2646" y="1081"/>
                      </a:lnTo>
                      <a:lnTo>
                        <a:pt x="2641" y="1055"/>
                      </a:lnTo>
                      <a:lnTo>
                        <a:pt x="2630" y="1035"/>
                      </a:lnTo>
                      <a:lnTo>
                        <a:pt x="2616" y="1020"/>
                      </a:lnTo>
                      <a:lnTo>
                        <a:pt x="2599" y="1012"/>
                      </a:lnTo>
                      <a:lnTo>
                        <a:pt x="2577" y="1009"/>
                      </a:lnTo>
                      <a:close/>
                      <a:moveTo>
                        <a:pt x="1198" y="1009"/>
                      </a:moveTo>
                      <a:lnTo>
                        <a:pt x="1176" y="1012"/>
                      </a:lnTo>
                      <a:lnTo>
                        <a:pt x="1158" y="1020"/>
                      </a:lnTo>
                      <a:lnTo>
                        <a:pt x="1144" y="1035"/>
                      </a:lnTo>
                      <a:lnTo>
                        <a:pt x="1134" y="1055"/>
                      </a:lnTo>
                      <a:lnTo>
                        <a:pt x="1128" y="1081"/>
                      </a:lnTo>
                      <a:lnTo>
                        <a:pt x="1125" y="1114"/>
                      </a:lnTo>
                      <a:lnTo>
                        <a:pt x="1128" y="1147"/>
                      </a:lnTo>
                      <a:lnTo>
                        <a:pt x="1134" y="1174"/>
                      </a:lnTo>
                      <a:lnTo>
                        <a:pt x="1144" y="1195"/>
                      </a:lnTo>
                      <a:lnTo>
                        <a:pt x="1158" y="1208"/>
                      </a:lnTo>
                      <a:lnTo>
                        <a:pt x="1176" y="1218"/>
                      </a:lnTo>
                      <a:lnTo>
                        <a:pt x="1198" y="1220"/>
                      </a:lnTo>
                      <a:lnTo>
                        <a:pt x="1219" y="1218"/>
                      </a:lnTo>
                      <a:lnTo>
                        <a:pt x="1237" y="1208"/>
                      </a:lnTo>
                      <a:lnTo>
                        <a:pt x="1251" y="1195"/>
                      </a:lnTo>
                      <a:lnTo>
                        <a:pt x="1262" y="1174"/>
                      </a:lnTo>
                      <a:lnTo>
                        <a:pt x="1267" y="1147"/>
                      </a:lnTo>
                      <a:lnTo>
                        <a:pt x="1269" y="1114"/>
                      </a:lnTo>
                      <a:lnTo>
                        <a:pt x="1267" y="1081"/>
                      </a:lnTo>
                      <a:lnTo>
                        <a:pt x="1262" y="1055"/>
                      </a:lnTo>
                      <a:lnTo>
                        <a:pt x="1251" y="1035"/>
                      </a:lnTo>
                      <a:lnTo>
                        <a:pt x="1237" y="1020"/>
                      </a:lnTo>
                      <a:lnTo>
                        <a:pt x="1219" y="1012"/>
                      </a:lnTo>
                      <a:lnTo>
                        <a:pt x="1198" y="1009"/>
                      </a:lnTo>
                      <a:close/>
                      <a:moveTo>
                        <a:pt x="2095" y="650"/>
                      </a:moveTo>
                      <a:lnTo>
                        <a:pt x="2094" y="680"/>
                      </a:lnTo>
                      <a:lnTo>
                        <a:pt x="2095" y="713"/>
                      </a:lnTo>
                      <a:lnTo>
                        <a:pt x="2102" y="739"/>
                      </a:lnTo>
                      <a:lnTo>
                        <a:pt x="2112" y="760"/>
                      </a:lnTo>
                      <a:lnTo>
                        <a:pt x="2125" y="775"/>
                      </a:lnTo>
                      <a:lnTo>
                        <a:pt x="2143" y="783"/>
                      </a:lnTo>
                      <a:lnTo>
                        <a:pt x="2165" y="785"/>
                      </a:lnTo>
                      <a:lnTo>
                        <a:pt x="2187" y="783"/>
                      </a:lnTo>
                      <a:lnTo>
                        <a:pt x="2204" y="775"/>
                      </a:lnTo>
                      <a:lnTo>
                        <a:pt x="2218" y="760"/>
                      </a:lnTo>
                      <a:lnTo>
                        <a:pt x="2229" y="740"/>
                      </a:lnTo>
                      <a:lnTo>
                        <a:pt x="2234" y="713"/>
                      </a:lnTo>
                      <a:lnTo>
                        <a:pt x="2206" y="710"/>
                      </a:lnTo>
                      <a:lnTo>
                        <a:pt x="2177" y="709"/>
                      </a:lnTo>
                      <a:lnTo>
                        <a:pt x="2137" y="712"/>
                      </a:lnTo>
                      <a:lnTo>
                        <a:pt x="2117" y="680"/>
                      </a:lnTo>
                      <a:lnTo>
                        <a:pt x="2095" y="650"/>
                      </a:lnTo>
                      <a:close/>
                      <a:moveTo>
                        <a:pt x="1683" y="451"/>
                      </a:moveTo>
                      <a:lnTo>
                        <a:pt x="1622" y="455"/>
                      </a:lnTo>
                      <a:lnTo>
                        <a:pt x="1562" y="466"/>
                      </a:lnTo>
                      <a:lnTo>
                        <a:pt x="1506" y="483"/>
                      </a:lnTo>
                      <a:lnTo>
                        <a:pt x="1451" y="506"/>
                      </a:lnTo>
                      <a:lnTo>
                        <a:pt x="1401" y="535"/>
                      </a:lnTo>
                      <a:lnTo>
                        <a:pt x="1353" y="569"/>
                      </a:lnTo>
                      <a:lnTo>
                        <a:pt x="1311" y="608"/>
                      </a:lnTo>
                      <a:lnTo>
                        <a:pt x="1311" y="822"/>
                      </a:lnTo>
                      <a:lnTo>
                        <a:pt x="1262" y="822"/>
                      </a:lnTo>
                      <a:lnTo>
                        <a:pt x="1262" y="663"/>
                      </a:lnTo>
                      <a:lnTo>
                        <a:pt x="1232" y="708"/>
                      </a:lnTo>
                      <a:lnTo>
                        <a:pt x="1206" y="757"/>
                      </a:lnTo>
                      <a:lnTo>
                        <a:pt x="1185" y="809"/>
                      </a:lnTo>
                      <a:lnTo>
                        <a:pt x="1170" y="862"/>
                      </a:lnTo>
                      <a:lnTo>
                        <a:pt x="1161" y="919"/>
                      </a:lnTo>
                      <a:lnTo>
                        <a:pt x="1158" y="976"/>
                      </a:lnTo>
                      <a:lnTo>
                        <a:pt x="1177" y="972"/>
                      </a:lnTo>
                      <a:lnTo>
                        <a:pt x="1198" y="971"/>
                      </a:lnTo>
                      <a:lnTo>
                        <a:pt x="1229" y="974"/>
                      </a:lnTo>
                      <a:lnTo>
                        <a:pt x="1255" y="983"/>
                      </a:lnTo>
                      <a:lnTo>
                        <a:pt x="1278" y="998"/>
                      </a:lnTo>
                      <a:lnTo>
                        <a:pt x="1296" y="1020"/>
                      </a:lnTo>
                      <a:lnTo>
                        <a:pt x="1308" y="1046"/>
                      </a:lnTo>
                      <a:lnTo>
                        <a:pt x="1316" y="1077"/>
                      </a:lnTo>
                      <a:lnTo>
                        <a:pt x="1319" y="1114"/>
                      </a:lnTo>
                      <a:lnTo>
                        <a:pt x="1316" y="1151"/>
                      </a:lnTo>
                      <a:lnTo>
                        <a:pt x="1308" y="1184"/>
                      </a:lnTo>
                      <a:lnTo>
                        <a:pt x="1296" y="1210"/>
                      </a:lnTo>
                      <a:lnTo>
                        <a:pt x="1278" y="1230"/>
                      </a:lnTo>
                      <a:lnTo>
                        <a:pt x="1255" y="1245"/>
                      </a:lnTo>
                      <a:lnTo>
                        <a:pt x="1229" y="1255"/>
                      </a:lnTo>
                      <a:lnTo>
                        <a:pt x="1198" y="1257"/>
                      </a:lnTo>
                      <a:lnTo>
                        <a:pt x="1166" y="1255"/>
                      </a:lnTo>
                      <a:lnTo>
                        <a:pt x="1140" y="1245"/>
                      </a:lnTo>
                      <a:lnTo>
                        <a:pt x="1117" y="1230"/>
                      </a:lnTo>
                      <a:lnTo>
                        <a:pt x="1099" y="1210"/>
                      </a:lnTo>
                      <a:lnTo>
                        <a:pt x="1087" y="1184"/>
                      </a:lnTo>
                      <a:lnTo>
                        <a:pt x="1079" y="1151"/>
                      </a:lnTo>
                      <a:lnTo>
                        <a:pt x="1076" y="1114"/>
                      </a:lnTo>
                      <a:lnTo>
                        <a:pt x="1079" y="1084"/>
                      </a:lnTo>
                      <a:lnTo>
                        <a:pt x="1084" y="1055"/>
                      </a:lnTo>
                      <a:lnTo>
                        <a:pt x="1093" y="1032"/>
                      </a:lnTo>
                      <a:lnTo>
                        <a:pt x="1105" y="1012"/>
                      </a:lnTo>
                      <a:lnTo>
                        <a:pt x="1121" y="995"/>
                      </a:lnTo>
                      <a:lnTo>
                        <a:pt x="1078" y="1013"/>
                      </a:lnTo>
                      <a:lnTo>
                        <a:pt x="1035" y="1035"/>
                      </a:lnTo>
                      <a:lnTo>
                        <a:pt x="1044" y="1058"/>
                      </a:lnTo>
                      <a:lnTo>
                        <a:pt x="1049" y="1084"/>
                      </a:lnTo>
                      <a:lnTo>
                        <a:pt x="1050" y="1114"/>
                      </a:lnTo>
                      <a:lnTo>
                        <a:pt x="1048" y="1151"/>
                      </a:lnTo>
                      <a:lnTo>
                        <a:pt x="1041" y="1184"/>
                      </a:lnTo>
                      <a:lnTo>
                        <a:pt x="1027" y="1210"/>
                      </a:lnTo>
                      <a:lnTo>
                        <a:pt x="1011" y="1230"/>
                      </a:lnTo>
                      <a:lnTo>
                        <a:pt x="988" y="1245"/>
                      </a:lnTo>
                      <a:lnTo>
                        <a:pt x="962" y="1255"/>
                      </a:lnTo>
                      <a:lnTo>
                        <a:pt x="930" y="1257"/>
                      </a:lnTo>
                      <a:lnTo>
                        <a:pt x="908" y="1256"/>
                      </a:lnTo>
                      <a:lnTo>
                        <a:pt x="888" y="1252"/>
                      </a:lnTo>
                      <a:lnTo>
                        <a:pt x="869" y="1244"/>
                      </a:lnTo>
                      <a:lnTo>
                        <a:pt x="859" y="1283"/>
                      </a:lnTo>
                      <a:lnTo>
                        <a:pt x="853" y="1324"/>
                      </a:lnTo>
                      <a:lnTo>
                        <a:pt x="850" y="1366"/>
                      </a:lnTo>
                      <a:lnTo>
                        <a:pt x="851" y="1407"/>
                      </a:lnTo>
                      <a:lnTo>
                        <a:pt x="899" y="1407"/>
                      </a:lnTo>
                      <a:lnTo>
                        <a:pt x="899" y="1556"/>
                      </a:lnTo>
                      <a:lnTo>
                        <a:pt x="926" y="1598"/>
                      </a:lnTo>
                      <a:lnTo>
                        <a:pt x="959" y="1638"/>
                      </a:lnTo>
                      <a:lnTo>
                        <a:pt x="997" y="1672"/>
                      </a:lnTo>
                      <a:lnTo>
                        <a:pt x="1039" y="1700"/>
                      </a:lnTo>
                      <a:lnTo>
                        <a:pt x="1084" y="1724"/>
                      </a:lnTo>
                      <a:lnTo>
                        <a:pt x="1134" y="1741"/>
                      </a:lnTo>
                      <a:lnTo>
                        <a:pt x="1185" y="1752"/>
                      </a:lnTo>
                      <a:lnTo>
                        <a:pt x="1239" y="1756"/>
                      </a:lnTo>
                      <a:lnTo>
                        <a:pt x="2612" y="1756"/>
                      </a:lnTo>
                      <a:lnTo>
                        <a:pt x="2663" y="1752"/>
                      </a:lnTo>
                      <a:lnTo>
                        <a:pt x="2710" y="1744"/>
                      </a:lnTo>
                      <a:lnTo>
                        <a:pt x="2757" y="1729"/>
                      </a:lnTo>
                      <a:lnTo>
                        <a:pt x="2800" y="1709"/>
                      </a:lnTo>
                      <a:lnTo>
                        <a:pt x="2840" y="1683"/>
                      </a:lnTo>
                      <a:lnTo>
                        <a:pt x="2877" y="1653"/>
                      </a:lnTo>
                      <a:lnTo>
                        <a:pt x="2910" y="1619"/>
                      </a:lnTo>
                      <a:lnTo>
                        <a:pt x="2910" y="1450"/>
                      </a:lnTo>
                      <a:lnTo>
                        <a:pt x="2854" y="1450"/>
                      </a:lnTo>
                      <a:lnTo>
                        <a:pt x="2854" y="1407"/>
                      </a:lnTo>
                      <a:lnTo>
                        <a:pt x="2957" y="1407"/>
                      </a:lnTo>
                      <a:lnTo>
                        <a:pt x="2957" y="1548"/>
                      </a:lnTo>
                      <a:lnTo>
                        <a:pt x="2976" y="1505"/>
                      </a:lnTo>
                      <a:lnTo>
                        <a:pt x="2990" y="1462"/>
                      </a:lnTo>
                      <a:lnTo>
                        <a:pt x="2998" y="1415"/>
                      </a:lnTo>
                      <a:lnTo>
                        <a:pt x="3002" y="1366"/>
                      </a:lnTo>
                      <a:lnTo>
                        <a:pt x="2998" y="1310"/>
                      </a:lnTo>
                      <a:lnTo>
                        <a:pt x="2986" y="1257"/>
                      </a:lnTo>
                      <a:lnTo>
                        <a:pt x="2956" y="1255"/>
                      </a:lnTo>
                      <a:lnTo>
                        <a:pt x="2929" y="1245"/>
                      </a:lnTo>
                      <a:lnTo>
                        <a:pt x="2907" y="1230"/>
                      </a:lnTo>
                      <a:lnTo>
                        <a:pt x="2890" y="1208"/>
                      </a:lnTo>
                      <a:lnTo>
                        <a:pt x="2878" y="1182"/>
                      </a:lnTo>
                      <a:lnTo>
                        <a:pt x="2870" y="1151"/>
                      </a:lnTo>
                      <a:lnTo>
                        <a:pt x="2867" y="1114"/>
                      </a:lnTo>
                      <a:lnTo>
                        <a:pt x="2869" y="1095"/>
                      </a:lnTo>
                      <a:lnTo>
                        <a:pt x="2870" y="1076"/>
                      </a:lnTo>
                      <a:lnTo>
                        <a:pt x="2843" y="1053"/>
                      </a:lnTo>
                      <a:lnTo>
                        <a:pt x="2813" y="1034"/>
                      </a:lnTo>
                      <a:lnTo>
                        <a:pt x="2813" y="1256"/>
                      </a:lnTo>
                      <a:lnTo>
                        <a:pt x="2765" y="1256"/>
                      </a:lnTo>
                      <a:lnTo>
                        <a:pt x="2765" y="1015"/>
                      </a:lnTo>
                      <a:lnTo>
                        <a:pt x="2709" y="1015"/>
                      </a:lnTo>
                      <a:lnTo>
                        <a:pt x="2709" y="990"/>
                      </a:lnTo>
                      <a:lnTo>
                        <a:pt x="2665" y="982"/>
                      </a:lnTo>
                      <a:lnTo>
                        <a:pt x="2620" y="978"/>
                      </a:lnTo>
                      <a:lnTo>
                        <a:pt x="2644" y="989"/>
                      </a:lnTo>
                      <a:lnTo>
                        <a:pt x="2663" y="1005"/>
                      </a:lnTo>
                      <a:lnTo>
                        <a:pt x="2678" y="1025"/>
                      </a:lnTo>
                      <a:lnTo>
                        <a:pt x="2689" y="1050"/>
                      </a:lnTo>
                      <a:lnTo>
                        <a:pt x="2695" y="1080"/>
                      </a:lnTo>
                      <a:lnTo>
                        <a:pt x="2698" y="1114"/>
                      </a:lnTo>
                      <a:lnTo>
                        <a:pt x="2695" y="1151"/>
                      </a:lnTo>
                      <a:lnTo>
                        <a:pt x="2687" y="1184"/>
                      </a:lnTo>
                      <a:lnTo>
                        <a:pt x="2675" y="1210"/>
                      </a:lnTo>
                      <a:lnTo>
                        <a:pt x="2657" y="1230"/>
                      </a:lnTo>
                      <a:lnTo>
                        <a:pt x="2635" y="1245"/>
                      </a:lnTo>
                      <a:lnTo>
                        <a:pt x="2608" y="1255"/>
                      </a:lnTo>
                      <a:lnTo>
                        <a:pt x="2577" y="1257"/>
                      </a:lnTo>
                      <a:lnTo>
                        <a:pt x="2545" y="1255"/>
                      </a:lnTo>
                      <a:lnTo>
                        <a:pt x="2519" y="1245"/>
                      </a:lnTo>
                      <a:lnTo>
                        <a:pt x="2496" y="1230"/>
                      </a:lnTo>
                      <a:lnTo>
                        <a:pt x="2479" y="1210"/>
                      </a:lnTo>
                      <a:lnTo>
                        <a:pt x="2466" y="1184"/>
                      </a:lnTo>
                      <a:lnTo>
                        <a:pt x="2458" y="1151"/>
                      </a:lnTo>
                      <a:lnTo>
                        <a:pt x="2455" y="1114"/>
                      </a:lnTo>
                      <a:lnTo>
                        <a:pt x="2458" y="1077"/>
                      </a:lnTo>
                      <a:lnTo>
                        <a:pt x="2466" y="1046"/>
                      </a:lnTo>
                      <a:lnTo>
                        <a:pt x="2480" y="1019"/>
                      </a:lnTo>
                      <a:lnTo>
                        <a:pt x="2496" y="998"/>
                      </a:lnTo>
                      <a:lnTo>
                        <a:pt x="2519" y="983"/>
                      </a:lnTo>
                      <a:lnTo>
                        <a:pt x="2547" y="975"/>
                      </a:lnTo>
                      <a:lnTo>
                        <a:pt x="2528" y="929"/>
                      </a:lnTo>
                      <a:lnTo>
                        <a:pt x="2503" y="885"/>
                      </a:lnTo>
                      <a:lnTo>
                        <a:pt x="2473" y="847"/>
                      </a:lnTo>
                      <a:lnTo>
                        <a:pt x="2439" y="811"/>
                      </a:lnTo>
                      <a:lnTo>
                        <a:pt x="2401" y="780"/>
                      </a:lnTo>
                      <a:lnTo>
                        <a:pt x="2401" y="822"/>
                      </a:lnTo>
                      <a:lnTo>
                        <a:pt x="2353" y="822"/>
                      </a:lnTo>
                      <a:lnTo>
                        <a:pt x="2353" y="751"/>
                      </a:lnTo>
                      <a:lnTo>
                        <a:pt x="2319" y="736"/>
                      </a:lnTo>
                      <a:lnTo>
                        <a:pt x="2282" y="724"/>
                      </a:lnTo>
                      <a:lnTo>
                        <a:pt x="2274" y="754"/>
                      </a:lnTo>
                      <a:lnTo>
                        <a:pt x="2260" y="779"/>
                      </a:lnTo>
                      <a:lnTo>
                        <a:pt x="2243" y="798"/>
                      </a:lnTo>
                      <a:lnTo>
                        <a:pt x="2221" y="811"/>
                      </a:lnTo>
                      <a:lnTo>
                        <a:pt x="2195" y="820"/>
                      </a:lnTo>
                      <a:lnTo>
                        <a:pt x="2165" y="824"/>
                      </a:lnTo>
                      <a:lnTo>
                        <a:pt x="2133" y="820"/>
                      </a:lnTo>
                      <a:lnTo>
                        <a:pt x="2107" y="811"/>
                      </a:lnTo>
                      <a:lnTo>
                        <a:pt x="2086" y="796"/>
                      </a:lnTo>
                      <a:lnTo>
                        <a:pt x="2068" y="775"/>
                      </a:lnTo>
                      <a:lnTo>
                        <a:pt x="2054" y="749"/>
                      </a:lnTo>
                      <a:lnTo>
                        <a:pt x="2047" y="717"/>
                      </a:lnTo>
                      <a:lnTo>
                        <a:pt x="2045" y="680"/>
                      </a:lnTo>
                      <a:lnTo>
                        <a:pt x="2046" y="653"/>
                      </a:lnTo>
                      <a:lnTo>
                        <a:pt x="2050" y="629"/>
                      </a:lnTo>
                      <a:lnTo>
                        <a:pt x="2056" y="607"/>
                      </a:lnTo>
                      <a:lnTo>
                        <a:pt x="2013" y="569"/>
                      </a:lnTo>
                      <a:lnTo>
                        <a:pt x="1967" y="535"/>
                      </a:lnTo>
                      <a:lnTo>
                        <a:pt x="1915" y="506"/>
                      </a:lnTo>
                      <a:lnTo>
                        <a:pt x="1862" y="483"/>
                      </a:lnTo>
                      <a:lnTo>
                        <a:pt x="1805" y="466"/>
                      </a:lnTo>
                      <a:lnTo>
                        <a:pt x="1745" y="455"/>
                      </a:lnTo>
                      <a:lnTo>
                        <a:pt x="1683" y="451"/>
                      </a:lnTo>
                      <a:close/>
                      <a:moveTo>
                        <a:pt x="1786" y="0"/>
                      </a:moveTo>
                      <a:lnTo>
                        <a:pt x="1786" y="0"/>
                      </a:lnTo>
                      <a:lnTo>
                        <a:pt x="1895" y="4"/>
                      </a:lnTo>
                      <a:lnTo>
                        <a:pt x="2002" y="15"/>
                      </a:lnTo>
                      <a:lnTo>
                        <a:pt x="2106" y="33"/>
                      </a:lnTo>
                      <a:lnTo>
                        <a:pt x="2207" y="56"/>
                      </a:lnTo>
                      <a:lnTo>
                        <a:pt x="2304" y="85"/>
                      </a:lnTo>
                      <a:lnTo>
                        <a:pt x="2397" y="117"/>
                      </a:lnTo>
                      <a:lnTo>
                        <a:pt x="2485" y="155"/>
                      </a:lnTo>
                      <a:lnTo>
                        <a:pt x="2571" y="196"/>
                      </a:lnTo>
                      <a:lnTo>
                        <a:pt x="2652" y="240"/>
                      </a:lnTo>
                      <a:lnTo>
                        <a:pt x="2729" y="286"/>
                      </a:lnTo>
                      <a:lnTo>
                        <a:pt x="2800" y="334"/>
                      </a:lnTo>
                      <a:lnTo>
                        <a:pt x="2869" y="383"/>
                      </a:lnTo>
                      <a:lnTo>
                        <a:pt x="2931" y="432"/>
                      </a:lnTo>
                      <a:lnTo>
                        <a:pt x="2989" y="481"/>
                      </a:lnTo>
                      <a:lnTo>
                        <a:pt x="3040" y="530"/>
                      </a:lnTo>
                      <a:lnTo>
                        <a:pt x="3088" y="577"/>
                      </a:lnTo>
                      <a:lnTo>
                        <a:pt x="3129" y="622"/>
                      </a:lnTo>
                      <a:lnTo>
                        <a:pt x="3165" y="665"/>
                      </a:lnTo>
                      <a:lnTo>
                        <a:pt x="3210" y="725"/>
                      </a:lnTo>
                      <a:lnTo>
                        <a:pt x="3253" y="791"/>
                      </a:lnTo>
                      <a:lnTo>
                        <a:pt x="3293" y="860"/>
                      </a:lnTo>
                      <a:lnTo>
                        <a:pt x="3331" y="934"/>
                      </a:lnTo>
                      <a:lnTo>
                        <a:pt x="3365" y="1012"/>
                      </a:lnTo>
                      <a:lnTo>
                        <a:pt x="3395" y="1092"/>
                      </a:lnTo>
                      <a:lnTo>
                        <a:pt x="3422" y="1175"/>
                      </a:lnTo>
                      <a:lnTo>
                        <a:pt x="3444" y="1260"/>
                      </a:lnTo>
                      <a:lnTo>
                        <a:pt x="3462" y="1347"/>
                      </a:lnTo>
                      <a:lnTo>
                        <a:pt x="3476" y="1436"/>
                      </a:lnTo>
                      <a:lnTo>
                        <a:pt x="3484" y="1526"/>
                      </a:lnTo>
                      <a:lnTo>
                        <a:pt x="3488" y="1616"/>
                      </a:lnTo>
                      <a:lnTo>
                        <a:pt x="3485" y="1706"/>
                      </a:lnTo>
                      <a:lnTo>
                        <a:pt x="3477" y="1796"/>
                      </a:lnTo>
                      <a:lnTo>
                        <a:pt x="3462" y="1885"/>
                      </a:lnTo>
                      <a:lnTo>
                        <a:pt x="3440" y="1972"/>
                      </a:lnTo>
                      <a:lnTo>
                        <a:pt x="3412" y="2058"/>
                      </a:lnTo>
                      <a:lnTo>
                        <a:pt x="3377" y="2142"/>
                      </a:lnTo>
                      <a:lnTo>
                        <a:pt x="3335" y="2223"/>
                      </a:lnTo>
                      <a:lnTo>
                        <a:pt x="3286" y="2305"/>
                      </a:lnTo>
                      <a:lnTo>
                        <a:pt x="3231" y="2388"/>
                      </a:lnTo>
                      <a:lnTo>
                        <a:pt x="3174" y="2474"/>
                      </a:lnTo>
                      <a:lnTo>
                        <a:pt x="3135" y="2531"/>
                      </a:lnTo>
                      <a:lnTo>
                        <a:pt x="3096" y="2588"/>
                      </a:lnTo>
                      <a:lnTo>
                        <a:pt x="3058" y="2648"/>
                      </a:lnTo>
                      <a:lnTo>
                        <a:pt x="3021" y="2708"/>
                      </a:lnTo>
                      <a:lnTo>
                        <a:pt x="2986" y="2768"/>
                      </a:lnTo>
                      <a:lnTo>
                        <a:pt x="2955" y="2830"/>
                      </a:lnTo>
                      <a:lnTo>
                        <a:pt x="2927" y="2892"/>
                      </a:lnTo>
                      <a:lnTo>
                        <a:pt x="2903" y="2955"/>
                      </a:lnTo>
                      <a:lnTo>
                        <a:pt x="2884" y="3019"/>
                      </a:lnTo>
                      <a:lnTo>
                        <a:pt x="2870" y="3083"/>
                      </a:lnTo>
                      <a:lnTo>
                        <a:pt x="2863" y="3147"/>
                      </a:lnTo>
                      <a:lnTo>
                        <a:pt x="2863" y="3213"/>
                      </a:lnTo>
                      <a:lnTo>
                        <a:pt x="2871" y="3278"/>
                      </a:lnTo>
                      <a:lnTo>
                        <a:pt x="2888" y="3344"/>
                      </a:lnTo>
                      <a:lnTo>
                        <a:pt x="2890" y="3360"/>
                      </a:lnTo>
                      <a:lnTo>
                        <a:pt x="2889" y="3378"/>
                      </a:lnTo>
                      <a:lnTo>
                        <a:pt x="2882" y="3394"/>
                      </a:lnTo>
                      <a:lnTo>
                        <a:pt x="2871" y="3408"/>
                      </a:lnTo>
                      <a:lnTo>
                        <a:pt x="1761" y="4467"/>
                      </a:lnTo>
                      <a:lnTo>
                        <a:pt x="1749" y="4477"/>
                      </a:lnTo>
                      <a:lnTo>
                        <a:pt x="1734" y="4482"/>
                      </a:lnTo>
                      <a:lnTo>
                        <a:pt x="1719" y="4484"/>
                      </a:lnTo>
                      <a:lnTo>
                        <a:pt x="1709" y="4484"/>
                      </a:lnTo>
                      <a:lnTo>
                        <a:pt x="1701" y="4481"/>
                      </a:lnTo>
                      <a:lnTo>
                        <a:pt x="1682" y="4473"/>
                      </a:lnTo>
                      <a:lnTo>
                        <a:pt x="1667" y="4458"/>
                      </a:lnTo>
                      <a:lnTo>
                        <a:pt x="1659" y="4437"/>
                      </a:lnTo>
                      <a:lnTo>
                        <a:pt x="1642" y="4383"/>
                      </a:lnTo>
                      <a:lnTo>
                        <a:pt x="1625" y="4324"/>
                      </a:lnTo>
                      <a:lnTo>
                        <a:pt x="1603" y="4264"/>
                      </a:lnTo>
                      <a:lnTo>
                        <a:pt x="1580" y="4201"/>
                      </a:lnTo>
                      <a:lnTo>
                        <a:pt x="1552" y="4137"/>
                      </a:lnTo>
                      <a:lnTo>
                        <a:pt x="1524" y="4075"/>
                      </a:lnTo>
                      <a:lnTo>
                        <a:pt x="1494" y="4012"/>
                      </a:lnTo>
                      <a:lnTo>
                        <a:pt x="1460" y="3952"/>
                      </a:lnTo>
                      <a:lnTo>
                        <a:pt x="1424" y="3896"/>
                      </a:lnTo>
                      <a:lnTo>
                        <a:pt x="1387" y="3843"/>
                      </a:lnTo>
                      <a:lnTo>
                        <a:pt x="1349" y="3796"/>
                      </a:lnTo>
                      <a:lnTo>
                        <a:pt x="1310" y="3755"/>
                      </a:lnTo>
                      <a:lnTo>
                        <a:pt x="1269" y="3721"/>
                      </a:lnTo>
                      <a:lnTo>
                        <a:pt x="1226" y="3695"/>
                      </a:lnTo>
                      <a:lnTo>
                        <a:pt x="1184" y="3679"/>
                      </a:lnTo>
                      <a:lnTo>
                        <a:pt x="1164" y="3675"/>
                      </a:lnTo>
                      <a:lnTo>
                        <a:pt x="1140" y="3672"/>
                      </a:lnTo>
                      <a:lnTo>
                        <a:pt x="1112" y="3671"/>
                      </a:lnTo>
                      <a:lnTo>
                        <a:pt x="1069" y="3672"/>
                      </a:lnTo>
                      <a:lnTo>
                        <a:pt x="1023" y="3676"/>
                      </a:lnTo>
                      <a:lnTo>
                        <a:pt x="973" y="3682"/>
                      </a:lnTo>
                      <a:lnTo>
                        <a:pt x="921" y="3687"/>
                      </a:lnTo>
                      <a:lnTo>
                        <a:pt x="836" y="3697"/>
                      </a:lnTo>
                      <a:lnTo>
                        <a:pt x="753" y="3704"/>
                      </a:lnTo>
                      <a:lnTo>
                        <a:pt x="671" y="3706"/>
                      </a:lnTo>
                      <a:lnTo>
                        <a:pt x="615" y="3705"/>
                      </a:lnTo>
                      <a:lnTo>
                        <a:pt x="563" y="3698"/>
                      </a:lnTo>
                      <a:lnTo>
                        <a:pt x="518" y="3689"/>
                      </a:lnTo>
                      <a:lnTo>
                        <a:pt x="480" y="3674"/>
                      </a:lnTo>
                      <a:lnTo>
                        <a:pt x="447" y="3655"/>
                      </a:lnTo>
                      <a:lnTo>
                        <a:pt x="420" y="3631"/>
                      </a:lnTo>
                      <a:lnTo>
                        <a:pt x="400" y="3604"/>
                      </a:lnTo>
                      <a:lnTo>
                        <a:pt x="385" y="3573"/>
                      </a:lnTo>
                      <a:lnTo>
                        <a:pt x="375" y="3536"/>
                      </a:lnTo>
                      <a:lnTo>
                        <a:pt x="360" y="3435"/>
                      </a:lnTo>
                      <a:lnTo>
                        <a:pt x="346" y="3334"/>
                      </a:lnTo>
                      <a:lnTo>
                        <a:pt x="338" y="3274"/>
                      </a:lnTo>
                      <a:lnTo>
                        <a:pt x="330" y="3215"/>
                      </a:lnTo>
                      <a:lnTo>
                        <a:pt x="322" y="3155"/>
                      </a:lnTo>
                      <a:lnTo>
                        <a:pt x="311" y="3097"/>
                      </a:lnTo>
                      <a:lnTo>
                        <a:pt x="299" y="3040"/>
                      </a:lnTo>
                      <a:lnTo>
                        <a:pt x="285" y="2982"/>
                      </a:lnTo>
                      <a:lnTo>
                        <a:pt x="269" y="2928"/>
                      </a:lnTo>
                      <a:lnTo>
                        <a:pt x="251" y="2876"/>
                      </a:lnTo>
                      <a:lnTo>
                        <a:pt x="228" y="2825"/>
                      </a:lnTo>
                      <a:lnTo>
                        <a:pt x="203" y="2778"/>
                      </a:lnTo>
                      <a:lnTo>
                        <a:pt x="173" y="2733"/>
                      </a:lnTo>
                      <a:lnTo>
                        <a:pt x="140" y="2692"/>
                      </a:lnTo>
                      <a:lnTo>
                        <a:pt x="101" y="2655"/>
                      </a:lnTo>
                      <a:lnTo>
                        <a:pt x="59" y="2621"/>
                      </a:lnTo>
                      <a:lnTo>
                        <a:pt x="34" y="2600"/>
                      </a:lnTo>
                      <a:lnTo>
                        <a:pt x="18" y="2579"/>
                      </a:lnTo>
                      <a:lnTo>
                        <a:pt x="7" y="2554"/>
                      </a:lnTo>
                      <a:lnTo>
                        <a:pt x="1" y="2527"/>
                      </a:lnTo>
                      <a:lnTo>
                        <a:pt x="0" y="2497"/>
                      </a:lnTo>
                      <a:lnTo>
                        <a:pt x="4" y="2465"/>
                      </a:lnTo>
                      <a:lnTo>
                        <a:pt x="12" y="2433"/>
                      </a:lnTo>
                      <a:lnTo>
                        <a:pt x="23" y="2399"/>
                      </a:lnTo>
                      <a:lnTo>
                        <a:pt x="37" y="2363"/>
                      </a:lnTo>
                      <a:lnTo>
                        <a:pt x="55" y="2328"/>
                      </a:lnTo>
                      <a:lnTo>
                        <a:pt x="72" y="2291"/>
                      </a:lnTo>
                      <a:lnTo>
                        <a:pt x="93" y="2254"/>
                      </a:lnTo>
                      <a:lnTo>
                        <a:pt x="113" y="2216"/>
                      </a:lnTo>
                      <a:lnTo>
                        <a:pt x="135" y="2178"/>
                      </a:lnTo>
                      <a:lnTo>
                        <a:pt x="157" y="2140"/>
                      </a:lnTo>
                      <a:lnTo>
                        <a:pt x="179" y="2100"/>
                      </a:lnTo>
                      <a:lnTo>
                        <a:pt x="199" y="2062"/>
                      </a:lnTo>
                      <a:lnTo>
                        <a:pt x="217" y="2024"/>
                      </a:lnTo>
                      <a:lnTo>
                        <a:pt x="233" y="1988"/>
                      </a:lnTo>
                      <a:lnTo>
                        <a:pt x="247" y="1953"/>
                      </a:lnTo>
                      <a:lnTo>
                        <a:pt x="255" y="1920"/>
                      </a:lnTo>
                      <a:lnTo>
                        <a:pt x="259" y="1890"/>
                      </a:lnTo>
                      <a:lnTo>
                        <a:pt x="259" y="1863"/>
                      </a:lnTo>
                      <a:lnTo>
                        <a:pt x="247" y="1777"/>
                      </a:lnTo>
                      <a:lnTo>
                        <a:pt x="236" y="1691"/>
                      </a:lnTo>
                      <a:lnTo>
                        <a:pt x="225" y="1608"/>
                      </a:lnTo>
                      <a:lnTo>
                        <a:pt x="216" y="1526"/>
                      </a:lnTo>
                      <a:lnTo>
                        <a:pt x="209" y="1447"/>
                      </a:lnTo>
                      <a:lnTo>
                        <a:pt x="205" y="1369"/>
                      </a:lnTo>
                      <a:lnTo>
                        <a:pt x="203" y="1293"/>
                      </a:lnTo>
                      <a:lnTo>
                        <a:pt x="207" y="1216"/>
                      </a:lnTo>
                      <a:lnTo>
                        <a:pt x="214" y="1143"/>
                      </a:lnTo>
                      <a:lnTo>
                        <a:pt x="228" y="1068"/>
                      </a:lnTo>
                      <a:lnTo>
                        <a:pt x="247" y="995"/>
                      </a:lnTo>
                      <a:lnTo>
                        <a:pt x="271" y="922"/>
                      </a:lnTo>
                      <a:lnTo>
                        <a:pt x="304" y="850"/>
                      </a:lnTo>
                      <a:lnTo>
                        <a:pt x="344" y="777"/>
                      </a:lnTo>
                      <a:lnTo>
                        <a:pt x="393" y="705"/>
                      </a:lnTo>
                      <a:lnTo>
                        <a:pt x="450" y="631"/>
                      </a:lnTo>
                      <a:lnTo>
                        <a:pt x="517" y="558"/>
                      </a:lnTo>
                      <a:lnTo>
                        <a:pt x="518" y="556"/>
                      </a:lnTo>
                      <a:lnTo>
                        <a:pt x="626" y="460"/>
                      </a:lnTo>
                      <a:lnTo>
                        <a:pt x="737" y="374"/>
                      </a:lnTo>
                      <a:lnTo>
                        <a:pt x="847" y="295"/>
                      </a:lnTo>
                      <a:lnTo>
                        <a:pt x="960" y="226"/>
                      </a:lnTo>
                      <a:lnTo>
                        <a:pt x="1074" y="166"/>
                      </a:lnTo>
                      <a:lnTo>
                        <a:pt x="1189" y="116"/>
                      </a:lnTo>
                      <a:lnTo>
                        <a:pt x="1305" y="74"/>
                      </a:lnTo>
                      <a:lnTo>
                        <a:pt x="1424" y="42"/>
                      </a:lnTo>
                      <a:lnTo>
                        <a:pt x="1543" y="19"/>
                      </a:lnTo>
                      <a:lnTo>
                        <a:pt x="1664" y="4"/>
                      </a:lnTo>
                      <a:lnTo>
                        <a:pt x="178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71"/>
                <p:cNvSpPr>
                  <a:spLocks noEditPoints="1"/>
                </p:cNvSpPr>
                <p:nvPr/>
              </p:nvSpPr>
              <p:spPr bwMode="auto">
                <a:xfrm>
                  <a:off x="-397" y="2707"/>
                  <a:ext cx="121" cy="143"/>
                </a:xfrm>
                <a:custGeom>
                  <a:avLst/>
                  <a:gdLst>
                    <a:gd name="T0" fmla="*/ 121 w 241"/>
                    <a:gd name="T1" fmla="*/ 38 h 286"/>
                    <a:gd name="T2" fmla="*/ 99 w 241"/>
                    <a:gd name="T3" fmla="*/ 41 h 286"/>
                    <a:gd name="T4" fmla="*/ 82 w 241"/>
                    <a:gd name="T5" fmla="*/ 49 h 286"/>
                    <a:gd name="T6" fmla="*/ 67 w 241"/>
                    <a:gd name="T7" fmla="*/ 63 h 286"/>
                    <a:gd name="T8" fmla="*/ 57 w 241"/>
                    <a:gd name="T9" fmla="*/ 83 h 286"/>
                    <a:gd name="T10" fmla="*/ 52 w 241"/>
                    <a:gd name="T11" fmla="*/ 110 h 286"/>
                    <a:gd name="T12" fmla="*/ 49 w 241"/>
                    <a:gd name="T13" fmla="*/ 143 h 286"/>
                    <a:gd name="T14" fmla="*/ 52 w 241"/>
                    <a:gd name="T15" fmla="*/ 176 h 286"/>
                    <a:gd name="T16" fmla="*/ 57 w 241"/>
                    <a:gd name="T17" fmla="*/ 202 h 286"/>
                    <a:gd name="T18" fmla="*/ 67 w 241"/>
                    <a:gd name="T19" fmla="*/ 222 h 286"/>
                    <a:gd name="T20" fmla="*/ 82 w 241"/>
                    <a:gd name="T21" fmla="*/ 237 h 286"/>
                    <a:gd name="T22" fmla="*/ 99 w 241"/>
                    <a:gd name="T23" fmla="*/ 245 h 286"/>
                    <a:gd name="T24" fmla="*/ 121 w 241"/>
                    <a:gd name="T25" fmla="*/ 248 h 286"/>
                    <a:gd name="T26" fmla="*/ 143 w 241"/>
                    <a:gd name="T27" fmla="*/ 245 h 286"/>
                    <a:gd name="T28" fmla="*/ 161 w 241"/>
                    <a:gd name="T29" fmla="*/ 237 h 286"/>
                    <a:gd name="T30" fmla="*/ 175 w 241"/>
                    <a:gd name="T31" fmla="*/ 222 h 286"/>
                    <a:gd name="T32" fmla="*/ 184 w 241"/>
                    <a:gd name="T33" fmla="*/ 202 h 286"/>
                    <a:gd name="T34" fmla="*/ 191 w 241"/>
                    <a:gd name="T35" fmla="*/ 176 h 286"/>
                    <a:gd name="T36" fmla="*/ 192 w 241"/>
                    <a:gd name="T37" fmla="*/ 143 h 286"/>
                    <a:gd name="T38" fmla="*/ 191 w 241"/>
                    <a:gd name="T39" fmla="*/ 110 h 286"/>
                    <a:gd name="T40" fmla="*/ 184 w 241"/>
                    <a:gd name="T41" fmla="*/ 83 h 286"/>
                    <a:gd name="T42" fmla="*/ 175 w 241"/>
                    <a:gd name="T43" fmla="*/ 63 h 286"/>
                    <a:gd name="T44" fmla="*/ 161 w 241"/>
                    <a:gd name="T45" fmla="*/ 49 h 286"/>
                    <a:gd name="T46" fmla="*/ 143 w 241"/>
                    <a:gd name="T47" fmla="*/ 41 h 286"/>
                    <a:gd name="T48" fmla="*/ 121 w 241"/>
                    <a:gd name="T49" fmla="*/ 38 h 286"/>
                    <a:gd name="T50" fmla="*/ 121 w 241"/>
                    <a:gd name="T51" fmla="*/ 0 h 286"/>
                    <a:gd name="T52" fmla="*/ 153 w 241"/>
                    <a:gd name="T53" fmla="*/ 3 h 286"/>
                    <a:gd name="T54" fmla="*/ 179 w 241"/>
                    <a:gd name="T55" fmla="*/ 12 h 286"/>
                    <a:gd name="T56" fmla="*/ 200 w 241"/>
                    <a:gd name="T57" fmla="*/ 27 h 286"/>
                    <a:gd name="T58" fmla="*/ 218 w 241"/>
                    <a:gd name="T59" fmla="*/ 48 h 286"/>
                    <a:gd name="T60" fmla="*/ 232 w 241"/>
                    <a:gd name="T61" fmla="*/ 75 h 286"/>
                    <a:gd name="T62" fmla="*/ 239 w 241"/>
                    <a:gd name="T63" fmla="*/ 106 h 286"/>
                    <a:gd name="T64" fmla="*/ 241 w 241"/>
                    <a:gd name="T65" fmla="*/ 143 h 286"/>
                    <a:gd name="T66" fmla="*/ 239 w 241"/>
                    <a:gd name="T67" fmla="*/ 180 h 286"/>
                    <a:gd name="T68" fmla="*/ 232 w 241"/>
                    <a:gd name="T69" fmla="*/ 211 h 286"/>
                    <a:gd name="T70" fmla="*/ 218 w 241"/>
                    <a:gd name="T71" fmla="*/ 239 h 286"/>
                    <a:gd name="T72" fmla="*/ 200 w 241"/>
                    <a:gd name="T73" fmla="*/ 259 h 286"/>
                    <a:gd name="T74" fmla="*/ 179 w 241"/>
                    <a:gd name="T75" fmla="*/ 274 h 286"/>
                    <a:gd name="T76" fmla="*/ 153 w 241"/>
                    <a:gd name="T77" fmla="*/ 284 h 286"/>
                    <a:gd name="T78" fmla="*/ 121 w 241"/>
                    <a:gd name="T79" fmla="*/ 286 h 286"/>
                    <a:gd name="T80" fmla="*/ 90 w 241"/>
                    <a:gd name="T81" fmla="*/ 284 h 286"/>
                    <a:gd name="T82" fmla="*/ 63 w 241"/>
                    <a:gd name="T83" fmla="*/ 274 h 286"/>
                    <a:gd name="T84" fmla="*/ 41 w 241"/>
                    <a:gd name="T85" fmla="*/ 259 h 286"/>
                    <a:gd name="T86" fmla="*/ 23 w 241"/>
                    <a:gd name="T87" fmla="*/ 239 h 286"/>
                    <a:gd name="T88" fmla="*/ 11 w 241"/>
                    <a:gd name="T89" fmla="*/ 211 h 286"/>
                    <a:gd name="T90" fmla="*/ 3 w 241"/>
                    <a:gd name="T91" fmla="*/ 180 h 286"/>
                    <a:gd name="T92" fmla="*/ 0 w 241"/>
                    <a:gd name="T93" fmla="*/ 143 h 286"/>
                    <a:gd name="T94" fmla="*/ 3 w 241"/>
                    <a:gd name="T95" fmla="*/ 106 h 286"/>
                    <a:gd name="T96" fmla="*/ 11 w 241"/>
                    <a:gd name="T97" fmla="*/ 75 h 286"/>
                    <a:gd name="T98" fmla="*/ 23 w 241"/>
                    <a:gd name="T99" fmla="*/ 48 h 286"/>
                    <a:gd name="T100" fmla="*/ 41 w 241"/>
                    <a:gd name="T101" fmla="*/ 27 h 286"/>
                    <a:gd name="T102" fmla="*/ 63 w 241"/>
                    <a:gd name="T103" fmla="*/ 12 h 286"/>
                    <a:gd name="T104" fmla="*/ 90 w 241"/>
                    <a:gd name="T105" fmla="*/ 3 h 286"/>
                    <a:gd name="T106" fmla="*/ 121 w 241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1" h="286">
                      <a:moveTo>
                        <a:pt x="121" y="38"/>
                      </a:moveTo>
                      <a:lnTo>
                        <a:pt x="99" y="41"/>
                      </a:lnTo>
                      <a:lnTo>
                        <a:pt x="82" y="49"/>
                      </a:lnTo>
                      <a:lnTo>
                        <a:pt x="67" y="63"/>
                      </a:lnTo>
                      <a:lnTo>
                        <a:pt x="57" y="83"/>
                      </a:lnTo>
                      <a:lnTo>
                        <a:pt x="52" y="110"/>
                      </a:lnTo>
                      <a:lnTo>
                        <a:pt x="49" y="143"/>
                      </a:lnTo>
                      <a:lnTo>
                        <a:pt x="52" y="176"/>
                      </a:lnTo>
                      <a:lnTo>
                        <a:pt x="57" y="202"/>
                      </a:lnTo>
                      <a:lnTo>
                        <a:pt x="67" y="222"/>
                      </a:lnTo>
                      <a:lnTo>
                        <a:pt x="82" y="237"/>
                      </a:lnTo>
                      <a:lnTo>
                        <a:pt x="99" y="245"/>
                      </a:lnTo>
                      <a:lnTo>
                        <a:pt x="121" y="248"/>
                      </a:lnTo>
                      <a:lnTo>
                        <a:pt x="143" y="245"/>
                      </a:lnTo>
                      <a:lnTo>
                        <a:pt x="161" y="237"/>
                      </a:lnTo>
                      <a:lnTo>
                        <a:pt x="175" y="222"/>
                      </a:lnTo>
                      <a:lnTo>
                        <a:pt x="184" y="202"/>
                      </a:lnTo>
                      <a:lnTo>
                        <a:pt x="191" y="176"/>
                      </a:lnTo>
                      <a:lnTo>
                        <a:pt x="192" y="143"/>
                      </a:lnTo>
                      <a:lnTo>
                        <a:pt x="191" y="110"/>
                      </a:lnTo>
                      <a:lnTo>
                        <a:pt x="184" y="83"/>
                      </a:lnTo>
                      <a:lnTo>
                        <a:pt x="175" y="63"/>
                      </a:lnTo>
                      <a:lnTo>
                        <a:pt x="161" y="49"/>
                      </a:lnTo>
                      <a:lnTo>
                        <a:pt x="143" y="41"/>
                      </a:lnTo>
                      <a:lnTo>
                        <a:pt x="121" y="38"/>
                      </a:lnTo>
                      <a:close/>
                      <a:moveTo>
                        <a:pt x="121" y="0"/>
                      </a:moveTo>
                      <a:lnTo>
                        <a:pt x="153" y="3"/>
                      </a:lnTo>
                      <a:lnTo>
                        <a:pt x="179" y="12"/>
                      </a:lnTo>
                      <a:lnTo>
                        <a:pt x="200" y="27"/>
                      </a:lnTo>
                      <a:lnTo>
                        <a:pt x="218" y="48"/>
                      </a:lnTo>
                      <a:lnTo>
                        <a:pt x="232" y="75"/>
                      </a:lnTo>
                      <a:lnTo>
                        <a:pt x="239" y="106"/>
                      </a:lnTo>
                      <a:lnTo>
                        <a:pt x="241" y="143"/>
                      </a:lnTo>
                      <a:lnTo>
                        <a:pt x="239" y="180"/>
                      </a:lnTo>
                      <a:lnTo>
                        <a:pt x="232" y="211"/>
                      </a:lnTo>
                      <a:lnTo>
                        <a:pt x="218" y="239"/>
                      </a:lnTo>
                      <a:lnTo>
                        <a:pt x="200" y="259"/>
                      </a:lnTo>
                      <a:lnTo>
                        <a:pt x="179" y="274"/>
                      </a:lnTo>
                      <a:lnTo>
                        <a:pt x="153" y="284"/>
                      </a:lnTo>
                      <a:lnTo>
                        <a:pt x="121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11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3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72"/>
                <p:cNvSpPr>
                  <a:spLocks noEditPoints="1"/>
                </p:cNvSpPr>
                <p:nvPr/>
              </p:nvSpPr>
              <p:spPr bwMode="auto">
                <a:xfrm>
                  <a:off x="-808" y="2707"/>
                  <a:ext cx="120" cy="143"/>
                </a:xfrm>
                <a:custGeom>
                  <a:avLst/>
                  <a:gdLst>
                    <a:gd name="T0" fmla="*/ 120 w 242"/>
                    <a:gd name="T1" fmla="*/ 38 h 286"/>
                    <a:gd name="T2" fmla="*/ 99 w 242"/>
                    <a:gd name="T3" fmla="*/ 41 h 286"/>
                    <a:gd name="T4" fmla="*/ 81 w 242"/>
                    <a:gd name="T5" fmla="*/ 49 h 286"/>
                    <a:gd name="T6" fmla="*/ 67 w 242"/>
                    <a:gd name="T7" fmla="*/ 63 h 286"/>
                    <a:gd name="T8" fmla="*/ 56 w 242"/>
                    <a:gd name="T9" fmla="*/ 83 h 286"/>
                    <a:gd name="T10" fmla="*/ 51 w 242"/>
                    <a:gd name="T11" fmla="*/ 110 h 286"/>
                    <a:gd name="T12" fmla="*/ 49 w 242"/>
                    <a:gd name="T13" fmla="*/ 143 h 286"/>
                    <a:gd name="T14" fmla="*/ 51 w 242"/>
                    <a:gd name="T15" fmla="*/ 176 h 286"/>
                    <a:gd name="T16" fmla="*/ 56 w 242"/>
                    <a:gd name="T17" fmla="*/ 202 h 286"/>
                    <a:gd name="T18" fmla="*/ 67 w 242"/>
                    <a:gd name="T19" fmla="*/ 222 h 286"/>
                    <a:gd name="T20" fmla="*/ 81 w 242"/>
                    <a:gd name="T21" fmla="*/ 237 h 286"/>
                    <a:gd name="T22" fmla="*/ 99 w 242"/>
                    <a:gd name="T23" fmla="*/ 245 h 286"/>
                    <a:gd name="T24" fmla="*/ 120 w 242"/>
                    <a:gd name="T25" fmla="*/ 248 h 286"/>
                    <a:gd name="T26" fmla="*/ 142 w 242"/>
                    <a:gd name="T27" fmla="*/ 245 h 286"/>
                    <a:gd name="T28" fmla="*/ 160 w 242"/>
                    <a:gd name="T29" fmla="*/ 237 h 286"/>
                    <a:gd name="T30" fmla="*/ 174 w 242"/>
                    <a:gd name="T31" fmla="*/ 222 h 286"/>
                    <a:gd name="T32" fmla="*/ 185 w 242"/>
                    <a:gd name="T33" fmla="*/ 202 h 286"/>
                    <a:gd name="T34" fmla="*/ 190 w 242"/>
                    <a:gd name="T35" fmla="*/ 176 h 286"/>
                    <a:gd name="T36" fmla="*/ 193 w 242"/>
                    <a:gd name="T37" fmla="*/ 143 h 286"/>
                    <a:gd name="T38" fmla="*/ 190 w 242"/>
                    <a:gd name="T39" fmla="*/ 110 h 286"/>
                    <a:gd name="T40" fmla="*/ 185 w 242"/>
                    <a:gd name="T41" fmla="*/ 83 h 286"/>
                    <a:gd name="T42" fmla="*/ 174 w 242"/>
                    <a:gd name="T43" fmla="*/ 63 h 286"/>
                    <a:gd name="T44" fmla="*/ 160 w 242"/>
                    <a:gd name="T45" fmla="*/ 49 h 286"/>
                    <a:gd name="T46" fmla="*/ 142 w 242"/>
                    <a:gd name="T47" fmla="*/ 41 h 286"/>
                    <a:gd name="T48" fmla="*/ 120 w 242"/>
                    <a:gd name="T49" fmla="*/ 38 h 286"/>
                    <a:gd name="T50" fmla="*/ 120 w 242"/>
                    <a:gd name="T51" fmla="*/ 0 h 286"/>
                    <a:gd name="T52" fmla="*/ 152 w 242"/>
                    <a:gd name="T53" fmla="*/ 3 h 286"/>
                    <a:gd name="T54" fmla="*/ 179 w 242"/>
                    <a:gd name="T55" fmla="*/ 12 h 286"/>
                    <a:gd name="T56" fmla="*/ 201 w 242"/>
                    <a:gd name="T57" fmla="*/ 27 h 286"/>
                    <a:gd name="T58" fmla="*/ 219 w 242"/>
                    <a:gd name="T59" fmla="*/ 48 h 286"/>
                    <a:gd name="T60" fmla="*/ 231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1 w 242"/>
                    <a:gd name="T69" fmla="*/ 211 h 286"/>
                    <a:gd name="T70" fmla="*/ 219 w 242"/>
                    <a:gd name="T71" fmla="*/ 239 h 286"/>
                    <a:gd name="T72" fmla="*/ 201 w 242"/>
                    <a:gd name="T73" fmla="*/ 259 h 286"/>
                    <a:gd name="T74" fmla="*/ 179 w 242"/>
                    <a:gd name="T75" fmla="*/ 274 h 286"/>
                    <a:gd name="T76" fmla="*/ 152 w 242"/>
                    <a:gd name="T77" fmla="*/ 284 h 286"/>
                    <a:gd name="T78" fmla="*/ 120 w 242"/>
                    <a:gd name="T79" fmla="*/ 286 h 286"/>
                    <a:gd name="T80" fmla="*/ 89 w 242"/>
                    <a:gd name="T81" fmla="*/ 284 h 286"/>
                    <a:gd name="T82" fmla="*/ 63 w 242"/>
                    <a:gd name="T83" fmla="*/ 274 h 286"/>
                    <a:gd name="T84" fmla="*/ 40 w 242"/>
                    <a:gd name="T85" fmla="*/ 259 h 286"/>
                    <a:gd name="T86" fmla="*/ 22 w 242"/>
                    <a:gd name="T87" fmla="*/ 239 h 286"/>
                    <a:gd name="T88" fmla="*/ 10 w 242"/>
                    <a:gd name="T89" fmla="*/ 211 h 286"/>
                    <a:gd name="T90" fmla="*/ 2 w 242"/>
                    <a:gd name="T91" fmla="*/ 180 h 286"/>
                    <a:gd name="T92" fmla="*/ 0 w 242"/>
                    <a:gd name="T93" fmla="*/ 143 h 286"/>
                    <a:gd name="T94" fmla="*/ 2 w 242"/>
                    <a:gd name="T95" fmla="*/ 106 h 286"/>
                    <a:gd name="T96" fmla="*/ 10 w 242"/>
                    <a:gd name="T97" fmla="*/ 75 h 286"/>
                    <a:gd name="T98" fmla="*/ 22 w 242"/>
                    <a:gd name="T99" fmla="*/ 48 h 286"/>
                    <a:gd name="T100" fmla="*/ 40 w 242"/>
                    <a:gd name="T101" fmla="*/ 27 h 286"/>
                    <a:gd name="T102" fmla="*/ 63 w 242"/>
                    <a:gd name="T103" fmla="*/ 12 h 286"/>
                    <a:gd name="T104" fmla="*/ 89 w 242"/>
                    <a:gd name="T105" fmla="*/ 3 h 286"/>
                    <a:gd name="T106" fmla="*/ 120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3"/>
                      </a:lnTo>
                      <a:lnTo>
                        <a:pt x="56" y="83"/>
                      </a:lnTo>
                      <a:lnTo>
                        <a:pt x="51" y="110"/>
                      </a:lnTo>
                      <a:lnTo>
                        <a:pt x="49" y="143"/>
                      </a:lnTo>
                      <a:lnTo>
                        <a:pt x="51" y="176"/>
                      </a:lnTo>
                      <a:lnTo>
                        <a:pt x="56" y="202"/>
                      </a:lnTo>
                      <a:lnTo>
                        <a:pt x="67" y="222"/>
                      </a:lnTo>
                      <a:lnTo>
                        <a:pt x="81" y="237"/>
                      </a:lnTo>
                      <a:lnTo>
                        <a:pt x="99" y="245"/>
                      </a:lnTo>
                      <a:lnTo>
                        <a:pt x="120" y="248"/>
                      </a:lnTo>
                      <a:lnTo>
                        <a:pt x="142" y="245"/>
                      </a:lnTo>
                      <a:lnTo>
                        <a:pt x="160" y="237"/>
                      </a:lnTo>
                      <a:lnTo>
                        <a:pt x="174" y="222"/>
                      </a:lnTo>
                      <a:lnTo>
                        <a:pt x="185" y="202"/>
                      </a:lnTo>
                      <a:lnTo>
                        <a:pt x="190" y="176"/>
                      </a:lnTo>
                      <a:lnTo>
                        <a:pt x="193" y="143"/>
                      </a:lnTo>
                      <a:lnTo>
                        <a:pt x="190" y="110"/>
                      </a:lnTo>
                      <a:lnTo>
                        <a:pt x="185" y="83"/>
                      </a:lnTo>
                      <a:lnTo>
                        <a:pt x="174" y="63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3"/>
                      </a:lnTo>
                      <a:lnTo>
                        <a:pt x="179" y="12"/>
                      </a:lnTo>
                      <a:lnTo>
                        <a:pt x="201" y="27"/>
                      </a:lnTo>
                      <a:lnTo>
                        <a:pt x="219" y="48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1" y="211"/>
                      </a:lnTo>
                      <a:lnTo>
                        <a:pt x="219" y="239"/>
                      </a:lnTo>
                      <a:lnTo>
                        <a:pt x="201" y="259"/>
                      </a:lnTo>
                      <a:lnTo>
                        <a:pt x="179" y="274"/>
                      </a:lnTo>
                      <a:lnTo>
                        <a:pt x="152" y="284"/>
                      </a:lnTo>
                      <a:lnTo>
                        <a:pt x="120" y="286"/>
                      </a:lnTo>
                      <a:lnTo>
                        <a:pt x="89" y="284"/>
                      </a:lnTo>
                      <a:lnTo>
                        <a:pt x="63" y="274"/>
                      </a:lnTo>
                      <a:lnTo>
                        <a:pt x="40" y="259"/>
                      </a:lnTo>
                      <a:lnTo>
                        <a:pt x="22" y="239"/>
                      </a:lnTo>
                      <a:lnTo>
                        <a:pt x="10" y="211"/>
                      </a:lnTo>
                      <a:lnTo>
                        <a:pt x="2" y="180"/>
                      </a:lnTo>
                      <a:lnTo>
                        <a:pt x="0" y="143"/>
                      </a:lnTo>
                      <a:lnTo>
                        <a:pt x="2" y="106"/>
                      </a:lnTo>
                      <a:lnTo>
                        <a:pt x="10" y="75"/>
                      </a:lnTo>
                      <a:lnTo>
                        <a:pt x="22" y="48"/>
                      </a:lnTo>
                      <a:lnTo>
                        <a:pt x="40" y="27"/>
                      </a:lnTo>
                      <a:lnTo>
                        <a:pt x="63" y="12"/>
                      </a:lnTo>
                      <a:lnTo>
                        <a:pt x="89" y="3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73"/>
                <p:cNvSpPr>
                  <a:spLocks/>
                </p:cNvSpPr>
                <p:nvPr/>
              </p:nvSpPr>
              <p:spPr bwMode="auto">
                <a:xfrm>
                  <a:off x="-682" y="2708"/>
                  <a:ext cx="52" cy="141"/>
                </a:xfrm>
                <a:custGeom>
                  <a:avLst/>
                  <a:gdLst>
                    <a:gd name="T0" fmla="*/ 0 w 103"/>
                    <a:gd name="T1" fmla="*/ 0 h 284"/>
                    <a:gd name="T2" fmla="*/ 103 w 103"/>
                    <a:gd name="T3" fmla="*/ 0 h 284"/>
                    <a:gd name="T4" fmla="*/ 103 w 103"/>
                    <a:gd name="T5" fmla="*/ 284 h 284"/>
                    <a:gd name="T6" fmla="*/ 56 w 103"/>
                    <a:gd name="T7" fmla="*/ 284 h 284"/>
                    <a:gd name="T8" fmla="*/ 56 w 103"/>
                    <a:gd name="T9" fmla="*/ 43 h 284"/>
                    <a:gd name="T10" fmla="*/ 0 w 103"/>
                    <a:gd name="T11" fmla="*/ 43 h 284"/>
                    <a:gd name="T12" fmla="*/ 0 w 103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3" h="284">
                      <a:moveTo>
                        <a:pt x="0" y="0"/>
                      </a:moveTo>
                      <a:lnTo>
                        <a:pt x="103" y="0"/>
                      </a:lnTo>
                      <a:lnTo>
                        <a:pt x="103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74"/>
                <p:cNvSpPr>
                  <a:spLocks/>
                </p:cNvSpPr>
                <p:nvPr/>
              </p:nvSpPr>
              <p:spPr bwMode="auto">
                <a:xfrm>
                  <a:off x="-476" y="2708"/>
                  <a:ext cx="52" cy="141"/>
                </a:xfrm>
                <a:custGeom>
                  <a:avLst/>
                  <a:gdLst>
                    <a:gd name="T0" fmla="*/ 0 w 103"/>
                    <a:gd name="T1" fmla="*/ 0 h 284"/>
                    <a:gd name="T2" fmla="*/ 103 w 103"/>
                    <a:gd name="T3" fmla="*/ 0 h 284"/>
                    <a:gd name="T4" fmla="*/ 103 w 103"/>
                    <a:gd name="T5" fmla="*/ 284 h 284"/>
                    <a:gd name="T6" fmla="*/ 56 w 103"/>
                    <a:gd name="T7" fmla="*/ 284 h 284"/>
                    <a:gd name="T8" fmla="*/ 56 w 103"/>
                    <a:gd name="T9" fmla="*/ 43 h 284"/>
                    <a:gd name="T10" fmla="*/ 0 w 103"/>
                    <a:gd name="T11" fmla="*/ 43 h 284"/>
                    <a:gd name="T12" fmla="*/ 0 w 103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3" h="284">
                      <a:moveTo>
                        <a:pt x="0" y="0"/>
                      </a:moveTo>
                      <a:lnTo>
                        <a:pt x="103" y="0"/>
                      </a:lnTo>
                      <a:lnTo>
                        <a:pt x="103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9" name="Freeform 75"/>
                <p:cNvSpPr>
                  <a:spLocks/>
                </p:cNvSpPr>
                <p:nvPr/>
              </p:nvSpPr>
              <p:spPr bwMode="auto">
                <a:xfrm>
                  <a:off x="-754" y="2490"/>
                  <a:ext cx="52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5 w 104"/>
                    <a:gd name="T7" fmla="*/ 284 h 284"/>
                    <a:gd name="T8" fmla="*/ 55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5" y="284"/>
                      </a:lnTo>
                      <a:lnTo>
                        <a:pt x="55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6"/>
                <p:cNvSpPr>
                  <a:spLocks noEditPoints="1"/>
                </p:cNvSpPr>
                <p:nvPr/>
              </p:nvSpPr>
              <p:spPr bwMode="auto">
                <a:xfrm>
                  <a:off x="-953" y="2489"/>
                  <a:ext cx="121" cy="144"/>
                </a:xfrm>
                <a:custGeom>
                  <a:avLst/>
                  <a:gdLst>
                    <a:gd name="T0" fmla="*/ 122 w 242"/>
                    <a:gd name="T1" fmla="*/ 38 h 286"/>
                    <a:gd name="T2" fmla="*/ 100 w 242"/>
                    <a:gd name="T3" fmla="*/ 41 h 286"/>
                    <a:gd name="T4" fmla="*/ 82 w 242"/>
                    <a:gd name="T5" fmla="*/ 49 h 286"/>
                    <a:gd name="T6" fmla="*/ 67 w 242"/>
                    <a:gd name="T7" fmla="*/ 64 h 286"/>
                    <a:gd name="T8" fmla="*/ 57 w 242"/>
                    <a:gd name="T9" fmla="*/ 84 h 286"/>
                    <a:gd name="T10" fmla="*/ 52 w 242"/>
                    <a:gd name="T11" fmla="*/ 110 h 286"/>
                    <a:gd name="T12" fmla="*/ 49 w 242"/>
                    <a:gd name="T13" fmla="*/ 143 h 286"/>
                    <a:gd name="T14" fmla="*/ 52 w 242"/>
                    <a:gd name="T15" fmla="*/ 176 h 286"/>
                    <a:gd name="T16" fmla="*/ 57 w 242"/>
                    <a:gd name="T17" fmla="*/ 203 h 286"/>
                    <a:gd name="T18" fmla="*/ 67 w 242"/>
                    <a:gd name="T19" fmla="*/ 224 h 286"/>
                    <a:gd name="T20" fmla="*/ 82 w 242"/>
                    <a:gd name="T21" fmla="*/ 237 h 286"/>
                    <a:gd name="T22" fmla="*/ 100 w 242"/>
                    <a:gd name="T23" fmla="*/ 247 h 286"/>
                    <a:gd name="T24" fmla="*/ 122 w 242"/>
                    <a:gd name="T25" fmla="*/ 249 h 286"/>
                    <a:gd name="T26" fmla="*/ 143 w 242"/>
                    <a:gd name="T27" fmla="*/ 247 h 286"/>
                    <a:gd name="T28" fmla="*/ 161 w 242"/>
                    <a:gd name="T29" fmla="*/ 237 h 286"/>
                    <a:gd name="T30" fmla="*/ 175 w 242"/>
                    <a:gd name="T31" fmla="*/ 224 h 286"/>
                    <a:gd name="T32" fmla="*/ 184 w 242"/>
                    <a:gd name="T33" fmla="*/ 203 h 286"/>
                    <a:gd name="T34" fmla="*/ 191 w 242"/>
                    <a:gd name="T35" fmla="*/ 176 h 286"/>
                    <a:gd name="T36" fmla="*/ 193 w 242"/>
                    <a:gd name="T37" fmla="*/ 143 h 286"/>
                    <a:gd name="T38" fmla="*/ 191 w 242"/>
                    <a:gd name="T39" fmla="*/ 110 h 286"/>
                    <a:gd name="T40" fmla="*/ 184 w 242"/>
                    <a:gd name="T41" fmla="*/ 84 h 286"/>
                    <a:gd name="T42" fmla="*/ 175 w 242"/>
                    <a:gd name="T43" fmla="*/ 64 h 286"/>
                    <a:gd name="T44" fmla="*/ 161 w 242"/>
                    <a:gd name="T45" fmla="*/ 49 h 286"/>
                    <a:gd name="T46" fmla="*/ 143 w 242"/>
                    <a:gd name="T47" fmla="*/ 41 h 286"/>
                    <a:gd name="T48" fmla="*/ 122 w 242"/>
                    <a:gd name="T49" fmla="*/ 38 h 286"/>
                    <a:gd name="T50" fmla="*/ 122 w 242"/>
                    <a:gd name="T51" fmla="*/ 0 h 286"/>
                    <a:gd name="T52" fmla="*/ 153 w 242"/>
                    <a:gd name="T53" fmla="*/ 3 h 286"/>
                    <a:gd name="T54" fmla="*/ 179 w 242"/>
                    <a:gd name="T55" fmla="*/ 12 h 286"/>
                    <a:gd name="T56" fmla="*/ 202 w 242"/>
                    <a:gd name="T57" fmla="*/ 27 h 286"/>
                    <a:gd name="T58" fmla="*/ 218 w 242"/>
                    <a:gd name="T59" fmla="*/ 49 h 286"/>
                    <a:gd name="T60" fmla="*/ 232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2 w 242"/>
                    <a:gd name="T69" fmla="*/ 213 h 286"/>
                    <a:gd name="T70" fmla="*/ 218 w 242"/>
                    <a:gd name="T71" fmla="*/ 239 h 286"/>
                    <a:gd name="T72" fmla="*/ 202 w 242"/>
                    <a:gd name="T73" fmla="*/ 259 h 286"/>
                    <a:gd name="T74" fmla="*/ 179 w 242"/>
                    <a:gd name="T75" fmla="*/ 274 h 286"/>
                    <a:gd name="T76" fmla="*/ 153 w 242"/>
                    <a:gd name="T77" fmla="*/ 284 h 286"/>
                    <a:gd name="T78" fmla="*/ 122 w 242"/>
                    <a:gd name="T79" fmla="*/ 286 h 286"/>
                    <a:gd name="T80" fmla="*/ 90 w 242"/>
                    <a:gd name="T81" fmla="*/ 284 h 286"/>
                    <a:gd name="T82" fmla="*/ 63 w 242"/>
                    <a:gd name="T83" fmla="*/ 274 h 286"/>
                    <a:gd name="T84" fmla="*/ 41 w 242"/>
                    <a:gd name="T85" fmla="*/ 259 h 286"/>
                    <a:gd name="T86" fmla="*/ 23 w 242"/>
                    <a:gd name="T87" fmla="*/ 239 h 286"/>
                    <a:gd name="T88" fmla="*/ 11 w 242"/>
                    <a:gd name="T89" fmla="*/ 213 h 286"/>
                    <a:gd name="T90" fmla="*/ 3 w 242"/>
                    <a:gd name="T91" fmla="*/ 180 h 286"/>
                    <a:gd name="T92" fmla="*/ 0 w 242"/>
                    <a:gd name="T93" fmla="*/ 143 h 286"/>
                    <a:gd name="T94" fmla="*/ 3 w 242"/>
                    <a:gd name="T95" fmla="*/ 106 h 286"/>
                    <a:gd name="T96" fmla="*/ 11 w 242"/>
                    <a:gd name="T97" fmla="*/ 75 h 286"/>
                    <a:gd name="T98" fmla="*/ 23 w 242"/>
                    <a:gd name="T99" fmla="*/ 49 h 286"/>
                    <a:gd name="T100" fmla="*/ 41 w 242"/>
                    <a:gd name="T101" fmla="*/ 27 h 286"/>
                    <a:gd name="T102" fmla="*/ 63 w 242"/>
                    <a:gd name="T103" fmla="*/ 12 h 286"/>
                    <a:gd name="T104" fmla="*/ 90 w 242"/>
                    <a:gd name="T105" fmla="*/ 3 h 286"/>
                    <a:gd name="T106" fmla="*/ 122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2" y="38"/>
                      </a:moveTo>
                      <a:lnTo>
                        <a:pt x="100" y="41"/>
                      </a:lnTo>
                      <a:lnTo>
                        <a:pt x="82" y="49"/>
                      </a:lnTo>
                      <a:lnTo>
                        <a:pt x="67" y="64"/>
                      </a:lnTo>
                      <a:lnTo>
                        <a:pt x="57" y="84"/>
                      </a:lnTo>
                      <a:lnTo>
                        <a:pt x="52" y="110"/>
                      </a:lnTo>
                      <a:lnTo>
                        <a:pt x="49" y="143"/>
                      </a:lnTo>
                      <a:lnTo>
                        <a:pt x="52" y="176"/>
                      </a:lnTo>
                      <a:lnTo>
                        <a:pt x="57" y="203"/>
                      </a:lnTo>
                      <a:lnTo>
                        <a:pt x="67" y="224"/>
                      </a:lnTo>
                      <a:lnTo>
                        <a:pt x="82" y="237"/>
                      </a:lnTo>
                      <a:lnTo>
                        <a:pt x="100" y="247"/>
                      </a:lnTo>
                      <a:lnTo>
                        <a:pt x="122" y="249"/>
                      </a:lnTo>
                      <a:lnTo>
                        <a:pt x="143" y="247"/>
                      </a:lnTo>
                      <a:lnTo>
                        <a:pt x="161" y="237"/>
                      </a:lnTo>
                      <a:lnTo>
                        <a:pt x="175" y="224"/>
                      </a:lnTo>
                      <a:lnTo>
                        <a:pt x="184" y="203"/>
                      </a:lnTo>
                      <a:lnTo>
                        <a:pt x="191" y="176"/>
                      </a:lnTo>
                      <a:lnTo>
                        <a:pt x="193" y="143"/>
                      </a:lnTo>
                      <a:lnTo>
                        <a:pt x="191" y="110"/>
                      </a:lnTo>
                      <a:lnTo>
                        <a:pt x="184" y="84"/>
                      </a:lnTo>
                      <a:lnTo>
                        <a:pt x="175" y="64"/>
                      </a:lnTo>
                      <a:lnTo>
                        <a:pt x="161" y="49"/>
                      </a:lnTo>
                      <a:lnTo>
                        <a:pt x="143" y="41"/>
                      </a:lnTo>
                      <a:lnTo>
                        <a:pt x="122" y="38"/>
                      </a:lnTo>
                      <a:close/>
                      <a:moveTo>
                        <a:pt x="122" y="0"/>
                      </a:moveTo>
                      <a:lnTo>
                        <a:pt x="153" y="3"/>
                      </a:lnTo>
                      <a:lnTo>
                        <a:pt x="179" y="12"/>
                      </a:lnTo>
                      <a:lnTo>
                        <a:pt x="202" y="27"/>
                      </a:lnTo>
                      <a:lnTo>
                        <a:pt x="218" y="49"/>
                      </a:lnTo>
                      <a:lnTo>
                        <a:pt x="232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2" y="213"/>
                      </a:lnTo>
                      <a:lnTo>
                        <a:pt x="218" y="239"/>
                      </a:lnTo>
                      <a:lnTo>
                        <a:pt x="202" y="259"/>
                      </a:lnTo>
                      <a:lnTo>
                        <a:pt x="179" y="274"/>
                      </a:lnTo>
                      <a:lnTo>
                        <a:pt x="153" y="284"/>
                      </a:lnTo>
                      <a:lnTo>
                        <a:pt x="122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11" y="213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3" y="49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77"/>
                <p:cNvSpPr>
                  <a:spLocks/>
                </p:cNvSpPr>
                <p:nvPr/>
              </p:nvSpPr>
              <p:spPr bwMode="auto">
                <a:xfrm>
                  <a:off x="-826" y="2490"/>
                  <a:ext cx="52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6 w 104"/>
                    <a:gd name="T7" fmla="*/ 284 h 284"/>
                    <a:gd name="T8" fmla="*/ 56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78"/>
                <p:cNvSpPr>
                  <a:spLocks noEditPoints="1"/>
                </p:cNvSpPr>
                <p:nvPr/>
              </p:nvSpPr>
              <p:spPr bwMode="auto">
                <a:xfrm>
                  <a:off x="-1014" y="2272"/>
                  <a:ext cx="120" cy="144"/>
                </a:xfrm>
                <a:custGeom>
                  <a:avLst/>
                  <a:gdLst>
                    <a:gd name="T0" fmla="*/ 120 w 242"/>
                    <a:gd name="T1" fmla="*/ 38 h 288"/>
                    <a:gd name="T2" fmla="*/ 99 w 242"/>
                    <a:gd name="T3" fmla="*/ 41 h 288"/>
                    <a:gd name="T4" fmla="*/ 81 w 242"/>
                    <a:gd name="T5" fmla="*/ 49 h 288"/>
                    <a:gd name="T6" fmla="*/ 67 w 242"/>
                    <a:gd name="T7" fmla="*/ 64 h 288"/>
                    <a:gd name="T8" fmla="*/ 58 w 242"/>
                    <a:gd name="T9" fmla="*/ 84 h 288"/>
                    <a:gd name="T10" fmla="*/ 51 w 242"/>
                    <a:gd name="T11" fmla="*/ 110 h 288"/>
                    <a:gd name="T12" fmla="*/ 50 w 242"/>
                    <a:gd name="T13" fmla="*/ 144 h 288"/>
                    <a:gd name="T14" fmla="*/ 51 w 242"/>
                    <a:gd name="T15" fmla="*/ 177 h 288"/>
                    <a:gd name="T16" fmla="*/ 58 w 242"/>
                    <a:gd name="T17" fmla="*/ 203 h 288"/>
                    <a:gd name="T18" fmla="*/ 67 w 242"/>
                    <a:gd name="T19" fmla="*/ 224 h 288"/>
                    <a:gd name="T20" fmla="*/ 81 w 242"/>
                    <a:gd name="T21" fmla="*/ 239 h 288"/>
                    <a:gd name="T22" fmla="*/ 99 w 242"/>
                    <a:gd name="T23" fmla="*/ 247 h 288"/>
                    <a:gd name="T24" fmla="*/ 120 w 242"/>
                    <a:gd name="T25" fmla="*/ 249 h 288"/>
                    <a:gd name="T26" fmla="*/ 142 w 242"/>
                    <a:gd name="T27" fmla="*/ 247 h 288"/>
                    <a:gd name="T28" fmla="*/ 160 w 242"/>
                    <a:gd name="T29" fmla="*/ 239 h 288"/>
                    <a:gd name="T30" fmla="*/ 175 w 242"/>
                    <a:gd name="T31" fmla="*/ 224 h 288"/>
                    <a:gd name="T32" fmla="*/ 185 w 242"/>
                    <a:gd name="T33" fmla="*/ 203 h 288"/>
                    <a:gd name="T34" fmla="*/ 190 w 242"/>
                    <a:gd name="T35" fmla="*/ 177 h 288"/>
                    <a:gd name="T36" fmla="*/ 193 w 242"/>
                    <a:gd name="T37" fmla="*/ 144 h 288"/>
                    <a:gd name="T38" fmla="*/ 190 w 242"/>
                    <a:gd name="T39" fmla="*/ 110 h 288"/>
                    <a:gd name="T40" fmla="*/ 185 w 242"/>
                    <a:gd name="T41" fmla="*/ 84 h 288"/>
                    <a:gd name="T42" fmla="*/ 175 w 242"/>
                    <a:gd name="T43" fmla="*/ 64 h 288"/>
                    <a:gd name="T44" fmla="*/ 160 w 242"/>
                    <a:gd name="T45" fmla="*/ 49 h 288"/>
                    <a:gd name="T46" fmla="*/ 142 w 242"/>
                    <a:gd name="T47" fmla="*/ 41 h 288"/>
                    <a:gd name="T48" fmla="*/ 120 w 242"/>
                    <a:gd name="T49" fmla="*/ 38 h 288"/>
                    <a:gd name="T50" fmla="*/ 120 w 242"/>
                    <a:gd name="T51" fmla="*/ 0 h 288"/>
                    <a:gd name="T52" fmla="*/ 152 w 242"/>
                    <a:gd name="T53" fmla="*/ 4 h 288"/>
                    <a:gd name="T54" fmla="*/ 179 w 242"/>
                    <a:gd name="T55" fmla="*/ 12 h 288"/>
                    <a:gd name="T56" fmla="*/ 201 w 242"/>
                    <a:gd name="T57" fmla="*/ 29 h 288"/>
                    <a:gd name="T58" fmla="*/ 219 w 242"/>
                    <a:gd name="T59" fmla="*/ 49 h 288"/>
                    <a:gd name="T60" fmla="*/ 231 w 242"/>
                    <a:gd name="T61" fmla="*/ 75 h 288"/>
                    <a:gd name="T62" fmla="*/ 239 w 242"/>
                    <a:gd name="T63" fmla="*/ 106 h 288"/>
                    <a:gd name="T64" fmla="*/ 242 w 242"/>
                    <a:gd name="T65" fmla="*/ 144 h 288"/>
                    <a:gd name="T66" fmla="*/ 239 w 242"/>
                    <a:gd name="T67" fmla="*/ 181 h 288"/>
                    <a:gd name="T68" fmla="*/ 231 w 242"/>
                    <a:gd name="T69" fmla="*/ 213 h 288"/>
                    <a:gd name="T70" fmla="*/ 219 w 242"/>
                    <a:gd name="T71" fmla="*/ 239 h 288"/>
                    <a:gd name="T72" fmla="*/ 201 w 242"/>
                    <a:gd name="T73" fmla="*/ 260 h 288"/>
                    <a:gd name="T74" fmla="*/ 179 w 242"/>
                    <a:gd name="T75" fmla="*/ 275 h 288"/>
                    <a:gd name="T76" fmla="*/ 152 w 242"/>
                    <a:gd name="T77" fmla="*/ 284 h 288"/>
                    <a:gd name="T78" fmla="*/ 120 w 242"/>
                    <a:gd name="T79" fmla="*/ 288 h 288"/>
                    <a:gd name="T80" fmla="*/ 90 w 242"/>
                    <a:gd name="T81" fmla="*/ 284 h 288"/>
                    <a:gd name="T82" fmla="*/ 63 w 242"/>
                    <a:gd name="T83" fmla="*/ 275 h 288"/>
                    <a:gd name="T84" fmla="*/ 41 w 242"/>
                    <a:gd name="T85" fmla="*/ 260 h 288"/>
                    <a:gd name="T86" fmla="*/ 24 w 242"/>
                    <a:gd name="T87" fmla="*/ 239 h 288"/>
                    <a:gd name="T88" fmla="*/ 10 w 242"/>
                    <a:gd name="T89" fmla="*/ 213 h 288"/>
                    <a:gd name="T90" fmla="*/ 3 w 242"/>
                    <a:gd name="T91" fmla="*/ 181 h 288"/>
                    <a:gd name="T92" fmla="*/ 0 w 242"/>
                    <a:gd name="T93" fmla="*/ 144 h 288"/>
                    <a:gd name="T94" fmla="*/ 3 w 242"/>
                    <a:gd name="T95" fmla="*/ 106 h 288"/>
                    <a:gd name="T96" fmla="*/ 10 w 242"/>
                    <a:gd name="T97" fmla="*/ 75 h 288"/>
                    <a:gd name="T98" fmla="*/ 24 w 242"/>
                    <a:gd name="T99" fmla="*/ 49 h 288"/>
                    <a:gd name="T100" fmla="*/ 41 w 242"/>
                    <a:gd name="T101" fmla="*/ 29 h 288"/>
                    <a:gd name="T102" fmla="*/ 63 w 242"/>
                    <a:gd name="T103" fmla="*/ 12 h 288"/>
                    <a:gd name="T104" fmla="*/ 90 w 242"/>
                    <a:gd name="T105" fmla="*/ 4 h 288"/>
                    <a:gd name="T106" fmla="*/ 120 w 242"/>
                    <a:gd name="T107" fmla="*/ 0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8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4"/>
                      </a:lnTo>
                      <a:lnTo>
                        <a:pt x="58" y="84"/>
                      </a:lnTo>
                      <a:lnTo>
                        <a:pt x="51" y="110"/>
                      </a:lnTo>
                      <a:lnTo>
                        <a:pt x="50" y="144"/>
                      </a:lnTo>
                      <a:lnTo>
                        <a:pt x="51" y="177"/>
                      </a:lnTo>
                      <a:lnTo>
                        <a:pt x="58" y="203"/>
                      </a:lnTo>
                      <a:lnTo>
                        <a:pt x="67" y="224"/>
                      </a:lnTo>
                      <a:lnTo>
                        <a:pt x="81" y="239"/>
                      </a:lnTo>
                      <a:lnTo>
                        <a:pt x="99" y="247"/>
                      </a:lnTo>
                      <a:lnTo>
                        <a:pt x="120" y="249"/>
                      </a:lnTo>
                      <a:lnTo>
                        <a:pt x="142" y="247"/>
                      </a:lnTo>
                      <a:lnTo>
                        <a:pt x="160" y="239"/>
                      </a:lnTo>
                      <a:lnTo>
                        <a:pt x="175" y="224"/>
                      </a:lnTo>
                      <a:lnTo>
                        <a:pt x="185" y="203"/>
                      </a:lnTo>
                      <a:lnTo>
                        <a:pt x="190" y="177"/>
                      </a:lnTo>
                      <a:lnTo>
                        <a:pt x="193" y="144"/>
                      </a:lnTo>
                      <a:lnTo>
                        <a:pt x="190" y="110"/>
                      </a:lnTo>
                      <a:lnTo>
                        <a:pt x="185" y="84"/>
                      </a:lnTo>
                      <a:lnTo>
                        <a:pt x="175" y="64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4"/>
                      </a:lnTo>
                      <a:lnTo>
                        <a:pt x="179" y="12"/>
                      </a:lnTo>
                      <a:lnTo>
                        <a:pt x="201" y="29"/>
                      </a:lnTo>
                      <a:lnTo>
                        <a:pt x="219" y="49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4"/>
                      </a:lnTo>
                      <a:lnTo>
                        <a:pt x="239" y="181"/>
                      </a:lnTo>
                      <a:lnTo>
                        <a:pt x="231" y="213"/>
                      </a:lnTo>
                      <a:lnTo>
                        <a:pt x="219" y="239"/>
                      </a:lnTo>
                      <a:lnTo>
                        <a:pt x="201" y="260"/>
                      </a:lnTo>
                      <a:lnTo>
                        <a:pt x="179" y="275"/>
                      </a:lnTo>
                      <a:lnTo>
                        <a:pt x="152" y="284"/>
                      </a:lnTo>
                      <a:lnTo>
                        <a:pt x="120" y="288"/>
                      </a:lnTo>
                      <a:lnTo>
                        <a:pt x="90" y="284"/>
                      </a:lnTo>
                      <a:lnTo>
                        <a:pt x="63" y="275"/>
                      </a:lnTo>
                      <a:lnTo>
                        <a:pt x="41" y="260"/>
                      </a:lnTo>
                      <a:lnTo>
                        <a:pt x="24" y="239"/>
                      </a:lnTo>
                      <a:lnTo>
                        <a:pt x="10" y="213"/>
                      </a:lnTo>
                      <a:lnTo>
                        <a:pt x="3" y="181"/>
                      </a:lnTo>
                      <a:lnTo>
                        <a:pt x="0" y="144"/>
                      </a:lnTo>
                      <a:lnTo>
                        <a:pt x="3" y="106"/>
                      </a:lnTo>
                      <a:lnTo>
                        <a:pt x="10" y="75"/>
                      </a:lnTo>
                      <a:lnTo>
                        <a:pt x="24" y="49"/>
                      </a:lnTo>
                      <a:lnTo>
                        <a:pt x="41" y="29"/>
                      </a:lnTo>
                      <a:lnTo>
                        <a:pt x="63" y="12"/>
                      </a:lnTo>
                      <a:lnTo>
                        <a:pt x="90" y="4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79"/>
                <p:cNvSpPr>
                  <a:spLocks noEditPoints="1"/>
                </p:cNvSpPr>
                <p:nvPr/>
              </p:nvSpPr>
              <p:spPr bwMode="auto">
                <a:xfrm>
                  <a:off x="-675" y="2489"/>
                  <a:ext cx="121" cy="144"/>
                </a:xfrm>
                <a:custGeom>
                  <a:avLst/>
                  <a:gdLst>
                    <a:gd name="T0" fmla="*/ 120 w 241"/>
                    <a:gd name="T1" fmla="*/ 38 h 286"/>
                    <a:gd name="T2" fmla="*/ 98 w 241"/>
                    <a:gd name="T3" fmla="*/ 41 h 286"/>
                    <a:gd name="T4" fmla="*/ 80 w 241"/>
                    <a:gd name="T5" fmla="*/ 49 h 286"/>
                    <a:gd name="T6" fmla="*/ 67 w 241"/>
                    <a:gd name="T7" fmla="*/ 64 h 286"/>
                    <a:gd name="T8" fmla="*/ 57 w 241"/>
                    <a:gd name="T9" fmla="*/ 84 h 286"/>
                    <a:gd name="T10" fmla="*/ 50 w 241"/>
                    <a:gd name="T11" fmla="*/ 110 h 286"/>
                    <a:gd name="T12" fmla="*/ 49 w 241"/>
                    <a:gd name="T13" fmla="*/ 143 h 286"/>
                    <a:gd name="T14" fmla="*/ 50 w 241"/>
                    <a:gd name="T15" fmla="*/ 176 h 286"/>
                    <a:gd name="T16" fmla="*/ 57 w 241"/>
                    <a:gd name="T17" fmla="*/ 203 h 286"/>
                    <a:gd name="T18" fmla="*/ 67 w 241"/>
                    <a:gd name="T19" fmla="*/ 224 h 286"/>
                    <a:gd name="T20" fmla="*/ 80 w 241"/>
                    <a:gd name="T21" fmla="*/ 237 h 286"/>
                    <a:gd name="T22" fmla="*/ 98 w 241"/>
                    <a:gd name="T23" fmla="*/ 247 h 286"/>
                    <a:gd name="T24" fmla="*/ 120 w 241"/>
                    <a:gd name="T25" fmla="*/ 249 h 286"/>
                    <a:gd name="T26" fmla="*/ 142 w 241"/>
                    <a:gd name="T27" fmla="*/ 247 h 286"/>
                    <a:gd name="T28" fmla="*/ 159 w 241"/>
                    <a:gd name="T29" fmla="*/ 237 h 286"/>
                    <a:gd name="T30" fmla="*/ 174 w 241"/>
                    <a:gd name="T31" fmla="*/ 224 h 286"/>
                    <a:gd name="T32" fmla="*/ 184 w 241"/>
                    <a:gd name="T33" fmla="*/ 203 h 286"/>
                    <a:gd name="T34" fmla="*/ 189 w 241"/>
                    <a:gd name="T35" fmla="*/ 176 h 286"/>
                    <a:gd name="T36" fmla="*/ 192 w 241"/>
                    <a:gd name="T37" fmla="*/ 143 h 286"/>
                    <a:gd name="T38" fmla="*/ 189 w 241"/>
                    <a:gd name="T39" fmla="*/ 110 h 286"/>
                    <a:gd name="T40" fmla="*/ 184 w 241"/>
                    <a:gd name="T41" fmla="*/ 84 h 286"/>
                    <a:gd name="T42" fmla="*/ 174 w 241"/>
                    <a:gd name="T43" fmla="*/ 64 h 286"/>
                    <a:gd name="T44" fmla="*/ 159 w 241"/>
                    <a:gd name="T45" fmla="*/ 49 h 286"/>
                    <a:gd name="T46" fmla="*/ 142 w 241"/>
                    <a:gd name="T47" fmla="*/ 41 h 286"/>
                    <a:gd name="T48" fmla="*/ 120 w 241"/>
                    <a:gd name="T49" fmla="*/ 38 h 286"/>
                    <a:gd name="T50" fmla="*/ 120 w 241"/>
                    <a:gd name="T51" fmla="*/ 0 h 286"/>
                    <a:gd name="T52" fmla="*/ 151 w 241"/>
                    <a:gd name="T53" fmla="*/ 3 h 286"/>
                    <a:gd name="T54" fmla="*/ 178 w 241"/>
                    <a:gd name="T55" fmla="*/ 12 h 286"/>
                    <a:gd name="T56" fmla="*/ 200 w 241"/>
                    <a:gd name="T57" fmla="*/ 27 h 286"/>
                    <a:gd name="T58" fmla="*/ 218 w 241"/>
                    <a:gd name="T59" fmla="*/ 49 h 286"/>
                    <a:gd name="T60" fmla="*/ 230 w 241"/>
                    <a:gd name="T61" fmla="*/ 75 h 286"/>
                    <a:gd name="T62" fmla="*/ 238 w 241"/>
                    <a:gd name="T63" fmla="*/ 106 h 286"/>
                    <a:gd name="T64" fmla="*/ 241 w 241"/>
                    <a:gd name="T65" fmla="*/ 143 h 286"/>
                    <a:gd name="T66" fmla="*/ 238 w 241"/>
                    <a:gd name="T67" fmla="*/ 180 h 286"/>
                    <a:gd name="T68" fmla="*/ 230 w 241"/>
                    <a:gd name="T69" fmla="*/ 213 h 286"/>
                    <a:gd name="T70" fmla="*/ 218 w 241"/>
                    <a:gd name="T71" fmla="*/ 239 h 286"/>
                    <a:gd name="T72" fmla="*/ 200 w 241"/>
                    <a:gd name="T73" fmla="*/ 259 h 286"/>
                    <a:gd name="T74" fmla="*/ 178 w 241"/>
                    <a:gd name="T75" fmla="*/ 274 h 286"/>
                    <a:gd name="T76" fmla="*/ 151 w 241"/>
                    <a:gd name="T77" fmla="*/ 284 h 286"/>
                    <a:gd name="T78" fmla="*/ 120 w 241"/>
                    <a:gd name="T79" fmla="*/ 286 h 286"/>
                    <a:gd name="T80" fmla="*/ 88 w 241"/>
                    <a:gd name="T81" fmla="*/ 284 h 286"/>
                    <a:gd name="T82" fmla="*/ 62 w 241"/>
                    <a:gd name="T83" fmla="*/ 274 h 286"/>
                    <a:gd name="T84" fmla="*/ 41 w 241"/>
                    <a:gd name="T85" fmla="*/ 259 h 286"/>
                    <a:gd name="T86" fmla="*/ 23 w 241"/>
                    <a:gd name="T87" fmla="*/ 239 h 286"/>
                    <a:gd name="T88" fmla="*/ 9 w 241"/>
                    <a:gd name="T89" fmla="*/ 213 h 286"/>
                    <a:gd name="T90" fmla="*/ 2 w 241"/>
                    <a:gd name="T91" fmla="*/ 180 h 286"/>
                    <a:gd name="T92" fmla="*/ 0 w 241"/>
                    <a:gd name="T93" fmla="*/ 143 h 286"/>
                    <a:gd name="T94" fmla="*/ 2 w 241"/>
                    <a:gd name="T95" fmla="*/ 106 h 286"/>
                    <a:gd name="T96" fmla="*/ 9 w 241"/>
                    <a:gd name="T97" fmla="*/ 75 h 286"/>
                    <a:gd name="T98" fmla="*/ 23 w 241"/>
                    <a:gd name="T99" fmla="*/ 49 h 286"/>
                    <a:gd name="T100" fmla="*/ 41 w 241"/>
                    <a:gd name="T101" fmla="*/ 27 h 286"/>
                    <a:gd name="T102" fmla="*/ 62 w 241"/>
                    <a:gd name="T103" fmla="*/ 12 h 286"/>
                    <a:gd name="T104" fmla="*/ 88 w 241"/>
                    <a:gd name="T105" fmla="*/ 3 h 286"/>
                    <a:gd name="T106" fmla="*/ 120 w 241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1" h="286">
                      <a:moveTo>
                        <a:pt x="120" y="38"/>
                      </a:moveTo>
                      <a:lnTo>
                        <a:pt x="98" y="41"/>
                      </a:lnTo>
                      <a:lnTo>
                        <a:pt x="80" y="49"/>
                      </a:lnTo>
                      <a:lnTo>
                        <a:pt x="67" y="64"/>
                      </a:lnTo>
                      <a:lnTo>
                        <a:pt x="57" y="84"/>
                      </a:lnTo>
                      <a:lnTo>
                        <a:pt x="50" y="110"/>
                      </a:lnTo>
                      <a:lnTo>
                        <a:pt x="49" y="143"/>
                      </a:lnTo>
                      <a:lnTo>
                        <a:pt x="50" y="176"/>
                      </a:lnTo>
                      <a:lnTo>
                        <a:pt x="57" y="203"/>
                      </a:lnTo>
                      <a:lnTo>
                        <a:pt x="67" y="224"/>
                      </a:lnTo>
                      <a:lnTo>
                        <a:pt x="80" y="237"/>
                      </a:lnTo>
                      <a:lnTo>
                        <a:pt x="98" y="247"/>
                      </a:lnTo>
                      <a:lnTo>
                        <a:pt x="120" y="249"/>
                      </a:lnTo>
                      <a:lnTo>
                        <a:pt x="142" y="247"/>
                      </a:lnTo>
                      <a:lnTo>
                        <a:pt x="159" y="237"/>
                      </a:lnTo>
                      <a:lnTo>
                        <a:pt x="174" y="224"/>
                      </a:lnTo>
                      <a:lnTo>
                        <a:pt x="184" y="203"/>
                      </a:lnTo>
                      <a:lnTo>
                        <a:pt x="189" y="176"/>
                      </a:lnTo>
                      <a:lnTo>
                        <a:pt x="192" y="143"/>
                      </a:lnTo>
                      <a:lnTo>
                        <a:pt x="189" y="110"/>
                      </a:lnTo>
                      <a:lnTo>
                        <a:pt x="184" y="84"/>
                      </a:lnTo>
                      <a:lnTo>
                        <a:pt x="174" y="64"/>
                      </a:lnTo>
                      <a:lnTo>
                        <a:pt x="159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1" y="3"/>
                      </a:lnTo>
                      <a:lnTo>
                        <a:pt x="178" y="12"/>
                      </a:lnTo>
                      <a:lnTo>
                        <a:pt x="200" y="27"/>
                      </a:lnTo>
                      <a:lnTo>
                        <a:pt x="218" y="49"/>
                      </a:lnTo>
                      <a:lnTo>
                        <a:pt x="230" y="75"/>
                      </a:lnTo>
                      <a:lnTo>
                        <a:pt x="238" y="106"/>
                      </a:lnTo>
                      <a:lnTo>
                        <a:pt x="241" y="143"/>
                      </a:lnTo>
                      <a:lnTo>
                        <a:pt x="238" y="180"/>
                      </a:lnTo>
                      <a:lnTo>
                        <a:pt x="230" y="213"/>
                      </a:lnTo>
                      <a:lnTo>
                        <a:pt x="218" y="239"/>
                      </a:lnTo>
                      <a:lnTo>
                        <a:pt x="200" y="259"/>
                      </a:lnTo>
                      <a:lnTo>
                        <a:pt x="178" y="274"/>
                      </a:lnTo>
                      <a:lnTo>
                        <a:pt x="151" y="284"/>
                      </a:lnTo>
                      <a:lnTo>
                        <a:pt x="120" y="286"/>
                      </a:lnTo>
                      <a:lnTo>
                        <a:pt x="88" y="284"/>
                      </a:lnTo>
                      <a:lnTo>
                        <a:pt x="62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9" y="213"/>
                      </a:lnTo>
                      <a:lnTo>
                        <a:pt x="2" y="180"/>
                      </a:lnTo>
                      <a:lnTo>
                        <a:pt x="0" y="143"/>
                      </a:lnTo>
                      <a:lnTo>
                        <a:pt x="2" y="106"/>
                      </a:lnTo>
                      <a:lnTo>
                        <a:pt x="9" y="75"/>
                      </a:lnTo>
                      <a:lnTo>
                        <a:pt x="23" y="49"/>
                      </a:lnTo>
                      <a:lnTo>
                        <a:pt x="41" y="27"/>
                      </a:lnTo>
                      <a:lnTo>
                        <a:pt x="62" y="12"/>
                      </a:lnTo>
                      <a:lnTo>
                        <a:pt x="88" y="3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80"/>
                <p:cNvSpPr>
                  <a:spLocks noEditPoints="1"/>
                </p:cNvSpPr>
                <p:nvPr/>
              </p:nvSpPr>
              <p:spPr bwMode="auto">
                <a:xfrm>
                  <a:off x="-603" y="2707"/>
                  <a:ext cx="121" cy="143"/>
                </a:xfrm>
                <a:custGeom>
                  <a:avLst/>
                  <a:gdLst>
                    <a:gd name="T0" fmla="*/ 121 w 241"/>
                    <a:gd name="T1" fmla="*/ 38 h 286"/>
                    <a:gd name="T2" fmla="*/ 100 w 241"/>
                    <a:gd name="T3" fmla="*/ 41 h 286"/>
                    <a:gd name="T4" fmla="*/ 82 w 241"/>
                    <a:gd name="T5" fmla="*/ 49 h 286"/>
                    <a:gd name="T6" fmla="*/ 68 w 241"/>
                    <a:gd name="T7" fmla="*/ 63 h 286"/>
                    <a:gd name="T8" fmla="*/ 57 w 241"/>
                    <a:gd name="T9" fmla="*/ 83 h 286"/>
                    <a:gd name="T10" fmla="*/ 52 w 241"/>
                    <a:gd name="T11" fmla="*/ 110 h 286"/>
                    <a:gd name="T12" fmla="*/ 49 w 241"/>
                    <a:gd name="T13" fmla="*/ 143 h 286"/>
                    <a:gd name="T14" fmla="*/ 52 w 241"/>
                    <a:gd name="T15" fmla="*/ 176 h 286"/>
                    <a:gd name="T16" fmla="*/ 57 w 241"/>
                    <a:gd name="T17" fmla="*/ 202 h 286"/>
                    <a:gd name="T18" fmla="*/ 68 w 241"/>
                    <a:gd name="T19" fmla="*/ 222 h 286"/>
                    <a:gd name="T20" fmla="*/ 82 w 241"/>
                    <a:gd name="T21" fmla="*/ 237 h 286"/>
                    <a:gd name="T22" fmla="*/ 100 w 241"/>
                    <a:gd name="T23" fmla="*/ 245 h 286"/>
                    <a:gd name="T24" fmla="*/ 121 w 241"/>
                    <a:gd name="T25" fmla="*/ 248 h 286"/>
                    <a:gd name="T26" fmla="*/ 143 w 241"/>
                    <a:gd name="T27" fmla="*/ 245 h 286"/>
                    <a:gd name="T28" fmla="*/ 161 w 241"/>
                    <a:gd name="T29" fmla="*/ 237 h 286"/>
                    <a:gd name="T30" fmla="*/ 175 w 241"/>
                    <a:gd name="T31" fmla="*/ 222 h 286"/>
                    <a:gd name="T32" fmla="*/ 185 w 241"/>
                    <a:gd name="T33" fmla="*/ 202 h 286"/>
                    <a:gd name="T34" fmla="*/ 191 w 241"/>
                    <a:gd name="T35" fmla="*/ 176 h 286"/>
                    <a:gd name="T36" fmla="*/ 192 w 241"/>
                    <a:gd name="T37" fmla="*/ 143 h 286"/>
                    <a:gd name="T38" fmla="*/ 191 w 241"/>
                    <a:gd name="T39" fmla="*/ 110 h 286"/>
                    <a:gd name="T40" fmla="*/ 185 w 241"/>
                    <a:gd name="T41" fmla="*/ 83 h 286"/>
                    <a:gd name="T42" fmla="*/ 175 w 241"/>
                    <a:gd name="T43" fmla="*/ 63 h 286"/>
                    <a:gd name="T44" fmla="*/ 161 w 241"/>
                    <a:gd name="T45" fmla="*/ 49 h 286"/>
                    <a:gd name="T46" fmla="*/ 143 w 241"/>
                    <a:gd name="T47" fmla="*/ 41 h 286"/>
                    <a:gd name="T48" fmla="*/ 121 w 241"/>
                    <a:gd name="T49" fmla="*/ 38 h 286"/>
                    <a:gd name="T50" fmla="*/ 121 w 241"/>
                    <a:gd name="T51" fmla="*/ 0 h 286"/>
                    <a:gd name="T52" fmla="*/ 153 w 241"/>
                    <a:gd name="T53" fmla="*/ 3 h 286"/>
                    <a:gd name="T54" fmla="*/ 179 w 241"/>
                    <a:gd name="T55" fmla="*/ 12 h 286"/>
                    <a:gd name="T56" fmla="*/ 202 w 241"/>
                    <a:gd name="T57" fmla="*/ 27 h 286"/>
                    <a:gd name="T58" fmla="*/ 220 w 241"/>
                    <a:gd name="T59" fmla="*/ 48 h 286"/>
                    <a:gd name="T60" fmla="*/ 232 w 241"/>
                    <a:gd name="T61" fmla="*/ 75 h 286"/>
                    <a:gd name="T62" fmla="*/ 239 w 241"/>
                    <a:gd name="T63" fmla="*/ 106 h 286"/>
                    <a:gd name="T64" fmla="*/ 241 w 241"/>
                    <a:gd name="T65" fmla="*/ 143 h 286"/>
                    <a:gd name="T66" fmla="*/ 239 w 241"/>
                    <a:gd name="T67" fmla="*/ 180 h 286"/>
                    <a:gd name="T68" fmla="*/ 232 w 241"/>
                    <a:gd name="T69" fmla="*/ 211 h 286"/>
                    <a:gd name="T70" fmla="*/ 220 w 241"/>
                    <a:gd name="T71" fmla="*/ 239 h 286"/>
                    <a:gd name="T72" fmla="*/ 202 w 241"/>
                    <a:gd name="T73" fmla="*/ 259 h 286"/>
                    <a:gd name="T74" fmla="*/ 179 w 241"/>
                    <a:gd name="T75" fmla="*/ 274 h 286"/>
                    <a:gd name="T76" fmla="*/ 153 w 241"/>
                    <a:gd name="T77" fmla="*/ 284 h 286"/>
                    <a:gd name="T78" fmla="*/ 121 w 241"/>
                    <a:gd name="T79" fmla="*/ 286 h 286"/>
                    <a:gd name="T80" fmla="*/ 90 w 241"/>
                    <a:gd name="T81" fmla="*/ 284 h 286"/>
                    <a:gd name="T82" fmla="*/ 63 w 241"/>
                    <a:gd name="T83" fmla="*/ 274 h 286"/>
                    <a:gd name="T84" fmla="*/ 41 w 241"/>
                    <a:gd name="T85" fmla="*/ 259 h 286"/>
                    <a:gd name="T86" fmla="*/ 23 w 241"/>
                    <a:gd name="T87" fmla="*/ 239 h 286"/>
                    <a:gd name="T88" fmla="*/ 11 w 241"/>
                    <a:gd name="T89" fmla="*/ 211 h 286"/>
                    <a:gd name="T90" fmla="*/ 3 w 241"/>
                    <a:gd name="T91" fmla="*/ 180 h 286"/>
                    <a:gd name="T92" fmla="*/ 0 w 241"/>
                    <a:gd name="T93" fmla="*/ 143 h 286"/>
                    <a:gd name="T94" fmla="*/ 3 w 241"/>
                    <a:gd name="T95" fmla="*/ 106 h 286"/>
                    <a:gd name="T96" fmla="*/ 11 w 241"/>
                    <a:gd name="T97" fmla="*/ 75 h 286"/>
                    <a:gd name="T98" fmla="*/ 23 w 241"/>
                    <a:gd name="T99" fmla="*/ 48 h 286"/>
                    <a:gd name="T100" fmla="*/ 41 w 241"/>
                    <a:gd name="T101" fmla="*/ 27 h 286"/>
                    <a:gd name="T102" fmla="*/ 63 w 241"/>
                    <a:gd name="T103" fmla="*/ 12 h 286"/>
                    <a:gd name="T104" fmla="*/ 90 w 241"/>
                    <a:gd name="T105" fmla="*/ 3 h 286"/>
                    <a:gd name="T106" fmla="*/ 121 w 241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1" h="286">
                      <a:moveTo>
                        <a:pt x="121" y="38"/>
                      </a:moveTo>
                      <a:lnTo>
                        <a:pt x="100" y="41"/>
                      </a:lnTo>
                      <a:lnTo>
                        <a:pt x="82" y="49"/>
                      </a:lnTo>
                      <a:lnTo>
                        <a:pt x="68" y="63"/>
                      </a:lnTo>
                      <a:lnTo>
                        <a:pt x="57" y="83"/>
                      </a:lnTo>
                      <a:lnTo>
                        <a:pt x="52" y="110"/>
                      </a:lnTo>
                      <a:lnTo>
                        <a:pt x="49" y="143"/>
                      </a:lnTo>
                      <a:lnTo>
                        <a:pt x="52" y="176"/>
                      </a:lnTo>
                      <a:lnTo>
                        <a:pt x="57" y="202"/>
                      </a:lnTo>
                      <a:lnTo>
                        <a:pt x="68" y="222"/>
                      </a:lnTo>
                      <a:lnTo>
                        <a:pt x="82" y="237"/>
                      </a:lnTo>
                      <a:lnTo>
                        <a:pt x="100" y="245"/>
                      </a:lnTo>
                      <a:lnTo>
                        <a:pt x="121" y="248"/>
                      </a:lnTo>
                      <a:lnTo>
                        <a:pt x="143" y="245"/>
                      </a:lnTo>
                      <a:lnTo>
                        <a:pt x="161" y="237"/>
                      </a:lnTo>
                      <a:lnTo>
                        <a:pt x="175" y="222"/>
                      </a:lnTo>
                      <a:lnTo>
                        <a:pt x="185" y="202"/>
                      </a:lnTo>
                      <a:lnTo>
                        <a:pt x="191" y="176"/>
                      </a:lnTo>
                      <a:lnTo>
                        <a:pt x="192" y="143"/>
                      </a:lnTo>
                      <a:lnTo>
                        <a:pt x="191" y="110"/>
                      </a:lnTo>
                      <a:lnTo>
                        <a:pt x="185" y="83"/>
                      </a:lnTo>
                      <a:lnTo>
                        <a:pt x="175" y="63"/>
                      </a:lnTo>
                      <a:lnTo>
                        <a:pt x="161" y="49"/>
                      </a:lnTo>
                      <a:lnTo>
                        <a:pt x="143" y="41"/>
                      </a:lnTo>
                      <a:lnTo>
                        <a:pt x="121" y="38"/>
                      </a:lnTo>
                      <a:close/>
                      <a:moveTo>
                        <a:pt x="121" y="0"/>
                      </a:moveTo>
                      <a:lnTo>
                        <a:pt x="153" y="3"/>
                      </a:lnTo>
                      <a:lnTo>
                        <a:pt x="179" y="12"/>
                      </a:lnTo>
                      <a:lnTo>
                        <a:pt x="202" y="27"/>
                      </a:lnTo>
                      <a:lnTo>
                        <a:pt x="220" y="48"/>
                      </a:lnTo>
                      <a:lnTo>
                        <a:pt x="232" y="75"/>
                      </a:lnTo>
                      <a:lnTo>
                        <a:pt x="239" y="106"/>
                      </a:lnTo>
                      <a:lnTo>
                        <a:pt x="241" y="143"/>
                      </a:lnTo>
                      <a:lnTo>
                        <a:pt x="239" y="180"/>
                      </a:lnTo>
                      <a:lnTo>
                        <a:pt x="232" y="211"/>
                      </a:lnTo>
                      <a:lnTo>
                        <a:pt x="220" y="239"/>
                      </a:lnTo>
                      <a:lnTo>
                        <a:pt x="202" y="259"/>
                      </a:lnTo>
                      <a:lnTo>
                        <a:pt x="179" y="274"/>
                      </a:lnTo>
                      <a:lnTo>
                        <a:pt x="153" y="284"/>
                      </a:lnTo>
                      <a:lnTo>
                        <a:pt x="121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11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3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81"/>
                <p:cNvSpPr>
                  <a:spLocks/>
                </p:cNvSpPr>
                <p:nvPr/>
              </p:nvSpPr>
              <p:spPr bwMode="auto">
                <a:xfrm>
                  <a:off x="-1032" y="2490"/>
                  <a:ext cx="52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6 w 104"/>
                    <a:gd name="T7" fmla="*/ 284 h 284"/>
                    <a:gd name="T8" fmla="*/ 56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82"/>
                <p:cNvSpPr>
                  <a:spLocks noEditPoints="1"/>
                </p:cNvSpPr>
                <p:nvPr/>
              </p:nvSpPr>
              <p:spPr bwMode="auto">
                <a:xfrm>
                  <a:off x="-1014" y="2707"/>
                  <a:ext cx="120" cy="143"/>
                </a:xfrm>
                <a:custGeom>
                  <a:avLst/>
                  <a:gdLst>
                    <a:gd name="T0" fmla="*/ 120 w 242"/>
                    <a:gd name="T1" fmla="*/ 38 h 286"/>
                    <a:gd name="T2" fmla="*/ 99 w 242"/>
                    <a:gd name="T3" fmla="*/ 41 h 286"/>
                    <a:gd name="T4" fmla="*/ 81 w 242"/>
                    <a:gd name="T5" fmla="*/ 49 h 286"/>
                    <a:gd name="T6" fmla="*/ 67 w 242"/>
                    <a:gd name="T7" fmla="*/ 63 h 286"/>
                    <a:gd name="T8" fmla="*/ 58 w 242"/>
                    <a:gd name="T9" fmla="*/ 83 h 286"/>
                    <a:gd name="T10" fmla="*/ 51 w 242"/>
                    <a:gd name="T11" fmla="*/ 110 h 286"/>
                    <a:gd name="T12" fmla="*/ 50 w 242"/>
                    <a:gd name="T13" fmla="*/ 143 h 286"/>
                    <a:gd name="T14" fmla="*/ 51 w 242"/>
                    <a:gd name="T15" fmla="*/ 176 h 286"/>
                    <a:gd name="T16" fmla="*/ 58 w 242"/>
                    <a:gd name="T17" fmla="*/ 202 h 286"/>
                    <a:gd name="T18" fmla="*/ 67 w 242"/>
                    <a:gd name="T19" fmla="*/ 222 h 286"/>
                    <a:gd name="T20" fmla="*/ 81 w 242"/>
                    <a:gd name="T21" fmla="*/ 237 h 286"/>
                    <a:gd name="T22" fmla="*/ 99 w 242"/>
                    <a:gd name="T23" fmla="*/ 245 h 286"/>
                    <a:gd name="T24" fmla="*/ 120 w 242"/>
                    <a:gd name="T25" fmla="*/ 248 h 286"/>
                    <a:gd name="T26" fmla="*/ 142 w 242"/>
                    <a:gd name="T27" fmla="*/ 245 h 286"/>
                    <a:gd name="T28" fmla="*/ 160 w 242"/>
                    <a:gd name="T29" fmla="*/ 237 h 286"/>
                    <a:gd name="T30" fmla="*/ 175 w 242"/>
                    <a:gd name="T31" fmla="*/ 222 h 286"/>
                    <a:gd name="T32" fmla="*/ 185 w 242"/>
                    <a:gd name="T33" fmla="*/ 202 h 286"/>
                    <a:gd name="T34" fmla="*/ 190 w 242"/>
                    <a:gd name="T35" fmla="*/ 176 h 286"/>
                    <a:gd name="T36" fmla="*/ 193 w 242"/>
                    <a:gd name="T37" fmla="*/ 143 h 286"/>
                    <a:gd name="T38" fmla="*/ 190 w 242"/>
                    <a:gd name="T39" fmla="*/ 110 h 286"/>
                    <a:gd name="T40" fmla="*/ 185 w 242"/>
                    <a:gd name="T41" fmla="*/ 83 h 286"/>
                    <a:gd name="T42" fmla="*/ 175 w 242"/>
                    <a:gd name="T43" fmla="*/ 63 h 286"/>
                    <a:gd name="T44" fmla="*/ 160 w 242"/>
                    <a:gd name="T45" fmla="*/ 49 h 286"/>
                    <a:gd name="T46" fmla="*/ 142 w 242"/>
                    <a:gd name="T47" fmla="*/ 41 h 286"/>
                    <a:gd name="T48" fmla="*/ 120 w 242"/>
                    <a:gd name="T49" fmla="*/ 38 h 286"/>
                    <a:gd name="T50" fmla="*/ 120 w 242"/>
                    <a:gd name="T51" fmla="*/ 0 h 286"/>
                    <a:gd name="T52" fmla="*/ 152 w 242"/>
                    <a:gd name="T53" fmla="*/ 3 h 286"/>
                    <a:gd name="T54" fmla="*/ 179 w 242"/>
                    <a:gd name="T55" fmla="*/ 12 h 286"/>
                    <a:gd name="T56" fmla="*/ 201 w 242"/>
                    <a:gd name="T57" fmla="*/ 27 h 286"/>
                    <a:gd name="T58" fmla="*/ 219 w 242"/>
                    <a:gd name="T59" fmla="*/ 48 h 286"/>
                    <a:gd name="T60" fmla="*/ 231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1 w 242"/>
                    <a:gd name="T69" fmla="*/ 211 h 286"/>
                    <a:gd name="T70" fmla="*/ 219 w 242"/>
                    <a:gd name="T71" fmla="*/ 239 h 286"/>
                    <a:gd name="T72" fmla="*/ 201 w 242"/>
                    <a:gd name="T73" fmla="*/ 259 h 286"/>
                    <a:gd name="T74" fmla="*/ 179 w 242"/>
                    <a:gd name="T75" fmla="*/ 274 h 286"/>
                    <a:gd name="T76" fmla="*/ 152 w 242"/>
                    <a:gd name="T77" fmla="*/ 284 h 286"/>
                    <a:gd name="T78" fmla="*/ 120 w 242"/>
                    <a:gd name="T79" fmla="*/ 286 h 286"/>
                    <a:gd name="T80" fmla="*/ 90 w 242"/>
                    <a:gd name="T81" fmla="*/ 284 h 286"/>
                    <a:gd name="T82" fmla="*/ 63 w 242"/>
                    <a:gd name="T83" fmla="*/ 274 h 286"/>
                    <a:gd name="T84" fmla="*/ 41 w 242"/>
                    <a:gd name="T85" fmla="*/ 259 h 286"/>
                    <a:gd name="T86" fmla="*/ 24 w 242"/>
                    <a:gd name="T87" fmla="*/ 239 h 286"/>
                    <a:gd name="T88" fmla="*/ 10 w 242"/>
                    <a:gd name="T89" fmla="*/ 211 h 286"/>
                    <a:gd name="T90" fmla="*/ 3 w 242"/>
                    <a:gd name="T91" fmla="*/ 180 h 286"/>
                    <a:gd name="T92" fmla="*/ 0 w 242"/>
                    <a:gd name="T93" fmla="*/ 143 h 286"/>
                    <a:gd name="T94" fmla="*/ 3 w 242"/>
                    <a:gd name="T95" fmla="*/ 106 h 286"/>
                    <a:gd name="T96" fmla="*/ 10 w 242"/>
                    <a:gd name="T97" fmla="*/ 75 h 286"/>
                    <a:gd name="T98" fmla="*/ 24 w 242"/>
                    <a:gd name="T99" fmla="*/ 48 h 286"/>
                    <a:gd name="T100" fmla="*/ 41 w 242"/>
                    <a:gd name="T101" fmla="*/ 27 h 286"/>
                    <a:gd name="T102" fmla="*/ 63 w 242"/>
                    <a:gd name="T103" fmla="*/ 12 h 286"/>
                    <a:gd name="T104" fmla="*/ 90 w 242"/>
                    <a:gd name="T105" fmla="*/ 3 h 286"/>
                    <a:gd name="T106" fmla="*/ 120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3"/>
                      </a:lnTo>
                      <a:lnTo>
                        <a:pt x="58" y="83"/>
                      </a:lnTo>
                      <a:lnTo>
                        <a:pt x="51" y="110"/>
                      </a:lnTo>
                      <a:lnTo>
                        <a:pt x="50" y="143"/>
                      </a:lnTo>
                      <a:lnTo>
                        <a:pt x="51" y="176"/>
                      </a:lnTo>
                      <a:lnTo>
                        <a:pt x="58" y="202"/>
                      </a:lnTo>
                      <a:lnTo>
                        <a:pt x="67" y="222"/>
                      </a:lnTo>
                      <a:lnTo>
                        <a:pt x="81" y="237"/>
                      </a:lnTo>
                      <a:lnTo>
                        <a:pt x="99" y="245"/>
                      </a:lnTo>
                      <a:lnTo>
                        <a:pt x="120" y="248"/>
                      </a:lnTo>
                      <a:lnTo>
                        <a:pt x="142" y="245"/>
                      </a:lnTo>
                      <a:lnTo>
                        <a:pt x="160" y="237"/>
                      </a:lnTo>
                      <a:lnTo>
                        <a:pt x="175" y="222"/>
                      </a:lnTo>
                      <a:lnTo>
                        <a:pt x="185" y="202"/>
                      </a:lnTo>
                      <a:lnTo>
                        <a:pt x="190" y="176"/>
                      </a:lnTo>
                      <a:lnTo>
                        <a:pt x="193" y="143"/>
                      </a:lnTo>
                      <a:lnTo>
                        <a:pt x="190" y="110"/>
                      </a:lnTo>
                      <a:lnTo>
                        <a:pt x="185" y="83"/>
                      </a:lnTo>
                      <a:lnTo>
                        <a:pt x="175" y="63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3"/>
                      </a:lnTo>
                      <a:lnTo>
                        <a:pt x="179" y="12"/>
                      </a:lnTo>
                      <a:lnTo>
                        <a:pt x="201" y="27"/>
                      </a:lnTo>
                      <a:lnTo>
                        <a:pt x="219" y="48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1" y="211"/>
                      </a:lnTo>
                      <a:lnTo>
                        <a:pt x="219" y="239"/>
                      </a:lnTo>
                      <a:lnTo>
                        <a:pt x="201" y="259"/>
                      </a:lnTo>
                      <a:lnTo>
                        <a:pt x="179" y="274"/>
                      </a:lnTo>
                      <a:lnTo>
                        <a:pt x="152" y="284"/>
                      </a:lnTo>
                      <a:lnTo>
                        <a:pt x="120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4" y="239"/>
                      </a:lnTo>
                      <a:lnTo>
                        <a:pt x="10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0" y="75"/>
                      </a:lnTo>
                      <a:lnTo>
                        <a:pt x="24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83"/>
                <p:cNvSpPr>
                  <a:spLocks/>
                </p:cNvSpPr>
                <p:nvPr/>
              </p:nvSpPr>
              <p:spPr bwMode="auto">
                <a:xfrm>
                  <a:off x="-887" y="2708"/>
                  <a:ext cx="51" cy="141"/>
                </a:xfrm>
                <a:custGeom>
                  <a:avLst/>
                  <a:gdLst>
                    <a:gd name="T0" fmla="*/ 0 w 102"/>
                    <a:gd name="T1" fmla="*/ 0 h 284"/>
                    <a:gd name="T2" fmla="*/ 102 w 102"/>
                    <a:gd name="T3" fmla="*/ 0 h 284"/>
                    <a:gd name="T4" fmla="*/ 102 w 102"/>
                    <a:gd name="T5" fmla="*/ 284 h 284"/>
                    <a:gd name="T6" fmla="*/ 55 w 102"/>
                    <a:gd name="T7" fmla="*/ 284 h 284"/>
                    <a:gd name="T8" fmla="*/ 55 w 102"/>
                    <a:gd name="T9" fmla="*/ 43 h 284"/>
                    <a:gd name="T10" fmla="*/ 0 w 102"/>
                    <a:gd name="T11" fmla="*/ 43 h 284"/>
                    <a:gd name="T12" fmla="*/ 0 w 102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2" h="284">
                      <a:moveTo>
                        <a:pt x="0" y="0"/>
                      </a:moveTo>
                      <a:lnTo>
                        <a:pt x="102" y="0"/>
                      </a:lnTo>
                      <a:lnTo>
                        <a:pt x="102" y="284"/>
                      </a:lnTo>
                      <a:lnTo>
                        <a:pt x="55" y="284"/>
                      </a:lnTo>
                      <a:lnTo>
                        <a:pt x="55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67" name="Group 165"/>
              <p:cNvGrpSpPr>
                <a:grpSpLocks noChangeAspect="1"/>
              </p:cNvGrpSpPr>
              <p:nvPr/>
            </p:nvGrpSpPr>
            <p:grpSpPr bwMode="auto">
              <a:xfrm>
                <a:off x="4390976" y="3996297"/>
                <a:ext cx="707442" cy="553242"/>
                <a:chOff x="-1919" y="3510"/>
                <a:chExt cx="679" cy="531"/>
              </a:xfrm>
              <a:solidFill>
                <a:schemeClr val="bg1"/>
              </a:solidFill>
            </p:grpSpPr>
            <p:sp>
              <p:nvSpPr>
                <p:cNvPr id="68" name="Freeform 167"/>
                <p:cNvSpPr>
                  <a:spLocks/>
                </p:cNvSpPr>
                <p:nvPr/>
              </p:nvSpPr>
              <p:spPr bwMode="auto">
                <a:xfrm>
                  <a:off x="-1803" y="3980"/>
                  <a:ext cx="447" cy="61"/>
                </a:xfrm>
                <a:custGeom>
                  <a:avLst/>
                  <a:gdLst>
                    <a:gd name="T0" fmla="*/ 154 w 2237"/>
                    <a:gd name="T1" fmla="*/ 0 h 304"/>
                    <a:gd name="T2" fmla="*/ 2082 w 2237"/>
                    <a:gd name="T3" fmla="*/ 0 h 304"/>
                    <a:gd name="T4" fmla="*/ 2113 w 2237"/>
                    <a:gd name="T5" fmla="*/ 3 h 304"/>
                    <a:gd name="T6" fmla="*/ 2142 w 2237"/>
                    <a:gd name="T7" fmla="*/ 12 h 304"/>
                    <a:gd name="T8" fmla="*/ 2168 w 2237"/>
                    <a:gd name="T9" fmla="*/ 27 h 304"/>
                    <a:gd name="T10" fmla="*/ 2191 w 2237"/>
                    <a:gd name="T11" fmla="*/ 45 h 304"/>
                    <a:gd name="T12" fmla="*/ 2210 w 2237"/>
                    <a:gd name="T13" fmla="*/ 68 h 304"/>
                    <a:gd name="T14" fmla="*/ 2224 w 2237"/>
                    <a:gd name="T15" fmla="*/ 93 h 304"/>
                    <a:gd name="T16" fmla="*/ 2234 w 2237"/>
                    <a:gd name="T17" fmla="*/ 122 h 304"/>
                    <a:gd name="T18" fmla="*/ 2237 w 2237"/>
                    <a:gd name="T19" fmla="*/ 153 h 304"/>
                    <a:gd name="T20" fmla="*/ 2234 w 2237"/>
                    <a:gd name="T21" fmla="*/ 183 h 304"/>
                    <a:gd name="T22" fmla="*/ 2224 w 2237"/>
                    <a:gd name="T23" fmla="*/ 212 h 304"/>
                    <a:gd name="T24" fmla="*/ 2210 w 2237"/>
                    <a:gd name="T25" fmla="*/ 237 h 304"/>
                    <a:gd name="T26" fmla="*/ 2191 w 2237"/>
                    <a:gd name="T27" fmla="*/ 260 h 304"/>
                    <a:gd name="T28" fmla="*/ 2168 w 2237"/>
                    <a:gd name="T29" fmla="*/ 278 h 304"/>
                    <a:gd name="T30" fmla="*/ 2142 w 2237"/>
                    <a:gd name="T31" fmla="*/ 293 h 304"/>
                    <a:gd name="T32" fmla="*/ 2113 w 2237"/>
                    <a:gd name="T33" fmla="*/ 301 h 304"/>
                    <a:gd name="T34" fmla="*/ 2082 w 2237"/>
                    <a:gd name="T35" fmla="*/ 304 h 304"/>
                    <a:gd name="T36" fmla="*/ 154 w 2237"/>
                    <a:gd name="T37" fmla="*/ 304 h 304"/>
                    <a:gd name="T38" fmla="*/ 123 w 2237"/>
                    <a:gd name="T39" fmla="*/ 301 h 304"/>
                    <a:gd name="T40" fmla="*/ 93 w 2237"/>
                    <a:gd name="T41" fmla="*/ 293 h 304"/>
                    <a:gd name="T42" fmla="*/ 68 w 2237"/>
                    <a:gd name="T43" fmla="*/ 278 h 304"/>
                    <a:gd name="T44" fmla="*/ 45 w 2237"/>
                    <a:gd name="T45" fmla="*/ 260 h 304"/>
                    <a:gd name="T46" fmla="*/ 26 w 2237"/>
                    <a:gd name="T47" fmla="*/ 237 h 304"/>
                    <a:gd name="T48" fmla="*/ 11 w 2237"/>
                    <a:gd name="T49" fmla="*/ 212 h 304"/>
                    <a:gd name="T50" fmla="*/ 3 w 2237"/>
                    <a:gd name="T51" fmla="*/ 183 h 304"/>
                    <a:gd name="T52" fmla="*/ 0 w 2237"/>
                    <a:gd name="T53" fmla="*/ 153 h 304"/>
                    <a:gd name="T54" fmla="*/ 3 w 2237"/>
                    <a:gd name="T55" fmla="*/ 122 h 304"/>
                    <a:gd name="T56" fmla="*/ 11 w 2237"/>
                    <a:gd name="T57" fmla="*/ 93 h 304"/>
                    <a:gd name="T58" fmla="*/ 26 w 2237"/>
                    <a:gd name="T59" fmla="*/ 68 h 304"/>
                    <a:gd name="T60" fmla="*/ 45 w 2237"/>
                    <a:gd name="T61" fmla="*/ 45 h 304"/>
                    <a:gd name="T62" fmla="*/ 68 w 2237"/>
                    <a:gd name="T63" fmla="*/ 27 h 304"/>
                    <a:gd name="T64" fmla="*/ 93 w 2237"/>
                    <a:gd name="T65" fmla="*/ 12 h 304"/>
                    <a:gd name="T66" fmla="*/ 123 w 2237"/>
                    <a:gd name="T67" fmla="*/ 3 h 304"/>
                    <a:gd name="T68" fmla="*/ 154 w 2237"/>
                    <a:gd name="T69" fmla="*/ 0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37" h="304">
                      <a:moveTo>
                        <a:pt x="154" y="0"/>
                      </a:moveTo>
                      <a:lnTo>
                        <a:pt x="2082" y="0"/>
                      </a:lnTo>
                      <a:lnTo>
                        <a:pt x="2113" y="3"/>
                      </a:lnTo>
                      <a:lnTo>
                        <a:pt x="2142" y="12"/>
                      </a:lnTo>
                      <a:lnTo>
                        <a:pt x="2168" y="27"/>
                      </a:lnTo>
                      <a:lnTo>
                        <a:pt x="2191" y="45"/>
                      </a:lnTo>
                      <a:lnTo>
                        <a:pt x="2210" y="68"/>
                      </a:lnTo>
                      <a:lnTo>
                        <a:pt x="2224" y="93"/>
                      </a:lnTo>
                      <a:lnTo>
                        <a:pt x="2234" y="122"/>
                      </a:lnTo>
                      <a:lnTo>
                        <a:pt x="2237" y="153"/>
                      </a:lnTo>
                      <a:lnTo>
                        <a:pt x="2234" y="183"/>
                      </a:lnTo>
                      <a:lnTo>
                        <a:pt x="2224" y="212"/>
                      </a:lnTo>
                      <a:lnTo>
                        <a:pt x="2210" y="237"/>
                      </a:lnTo>
                      <a:lnTo>
                        <a:pt x="2191" y="260"/>
                      </a:lnTo>
                      <a:lnTo>
                        <a:pt x="2168" y="278"/>
                      </a:lnTo>
                      <a:lnTo>
                        <a:pt x="2142" y="293"/>
                      </a:lnTo>
                      <a:lnTo>
                        <a:pt x="2113" y="301"/>
                      </a:lnTo>
                      <a:lnTo>
                        <a:pt x="2082" y="304"/>
                      </a:lnTo>
                      <a:lnTo>
                        <a:pt x="154" y="304"/>
                      </a:lnTo>
                      <a:lnTo>
                        <a:pt x="123" y="301"/>
                      </a:lnTo>
                      <a:lnTo>
                        <a:pt x="93" y="293"/>
                      </a:lnTo>
                      <a:lnTo>
                        <a:pt x="68" y="278"/>
                      </a:lnTo>
                      <a:lnTo>
                        <a:pt x="45" y="260"/>
                      </a:lnTo>
                      <a:lnTo>
                        <a:pt x="26" y="237"/>
                      </a:lnTo>
                      <a:lnTo>
                        <a:pt x="11" y="212"/>
                      </a:lnTo>
                      <a:lnTo>
                        <a:pt x="3" y="183"/>
                      </a:lnTo>
                      <a:lnTo>
                        <a:pt x="0" y="153"/>
                      </a:lnTo>
                      <a:lnTo>
                        <a:pt x="3" y="122"/>
                      </a:lnTo>
                      <a:lnTo>
                        <a:pt x="11" y="93"/>
                      </a:lnTo>
                      <a:lnTo>
                        <a:pt x="26" y="68"/>
                      </a:lnTo>
                      <a:lnTo>
                        <a:pt x="45" y="45"/>
                      </a:lnTo>
                      <a:lnTo>
                        <a:pt x="68" y="27"/>
                      </a:lnTo>
                      <a:lnTo>
                        <a:pt x="93" y="12"/>
                      </a:lnTo>
                      <a:lnTo>
                        <a:pt x="123" y="3"/>
                      </a:lnTo>
                      <a:lnTo>
                        <a:pt x="15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168"/>
                <p:cNvSpPr>
                  <a:spLocks/>
                </p:cNvSpPr>
                <p:nvPr/>
              </p:nvSpPr>
              <p:spPr bwMode="auto">
                <a:xfrm>
                  <a:off x="-1811" y="3730"/>
                  <a:ext cx="46" cy="121"/>
                </a:xfrm>
                <a:custGeom>
                  <a:avLst/>
                  <a:gdLst>
                    <a:gd name="T0" fmla="*/ 117 w 232"/>
                    <a:gd name="T1" fmla="*/ 0 h 607"/>
                    <a:gd name="T2" fmla="*/ 143 w 232"/>
                    <a:gd name="T3" fmla="*/ 3 h 607"/>
                    <a:gd name="T4" fmla="*/ 168 w 232"/>
                    <a:gd name="T5" fmla="*/ 12 h 607"/>
                    <a:gd name="T6" fmla="*/ 190 w 232"/>
                    <a:gd name="T7" fmla="*/ 25 h 607"/>
                    <a:gd name="T8" fmla="*/ 207 w 232"/>
                    <a:gd name="T9" fmla="*/ 43 h 607"/>
                    <a:gd name="T10" fmla="*/ 221 w 232"/>
                    <a:gd name="T11" fmla="*/ 64 h 607"/>
                    <a:gd name="T12" fmla="*/ 229 w 232"/>
                    <a:gd name="T13" fmla="*/ 88 h 607"/>
                    <a:gd name="T14" fmla="*/ 232 w 232"/>
                    <a:gd name="T15" fmla="*/ 114 h 607"/>
                    <a:gd name="T16" fmla="*/ 232 w 232"/>
                    <a:gd name="T17" fmla="*/ 494 h 607"/>
                    <a:gd name="T18" fmla="*/ 229 w 232"/>
                    <a:gd name="T19" fmla="*/ 520 h 607"/>
                    <a:gd name="T20" fmla="*/ 221 w 232"/>
                    <a:gd name="T21" fmla="*/ 544 h 607"/>
                    <a:gd name="T22" fmla="*/ 207 w 232"/>
                    <a:gd name="T23" fmla="*/ 565 h 607"/>
                    <a:gd name="T24" fmla="*/ 190 w 232"/>
                    <a:gd name="T25" fmla="*/ 583 h 607"/>
                    <a:gd name="T26" fmla="*/ 168 w 232"/>
                    <a:gd name="T27" fmla="*/ 596 h 607"/>
                    <a:gd name="T28" fmla="*/ 143 w 232"/>
                    <a:gd name="T29" fmla="*/ 605 h 607"/>
                    <a:gd name="T30" fmla="*/ 117 w 232"/>
                    <a:gd name="T31" fmla="*/ 607 h 607"/>
                    <a:gd name="T32" fmla="*/ 90 w 232"/>
                    <a:gd name="T33" fmla="*/ 605 h 607"/>
                    <a:gd name="T34" fmla="*/ 66 w 232"/>
                    <a:gd name="T35" fmla="*/ 596 h 607"/>
                    <a:gd name="T36" fmla="*/ 44 w 232"/>
                    <a:gd name="T37" fmla="*/ 583 h 607"/>
                    <a:gd name="T38" fmla="*/ 26 w 232"/>
                    <a:gd name="T39" fmla="*/ 565 h 607"/>
                    <a:gd name="T40" fmla="*/ 13 w 232"/>
                    <a:gd name="T41" fmla="*/ 544 h 607"/>
                    <a:gd name="T42" fmla="*/ 4 w 232"/>
                    <a:gd name="T43" fmla="*/ 520 h 607"/>
                    <a:gd name="T44" fmla="*/ 0 w 232"/>
                    <a:gd name="T45" fmla="*/ 494 h 607"/>
                    <a:gd name="T46" fmla="*/ 0 w 232"/>
                    <a:gd name="T47" fmla="*/ 114 h 607"/>
                    <a:gd name="T48" fmla="*/ 4 w 232"/>
                    <a:gd name="T49" fmla="*/ 88 h 607"/>
                    <a:gd name="T50" fmla="*/ 13 w 232"/>
                    <a:gd name="T51" fmla="*/ 64 h 607"/>
                    <a:gd name="T52" fmla="*/ 26 w 232"/>
                    <a:gd name="T53" fmla="*/ 43 h 607"/>
                    <a:gd name="T54" fmla="*/ 44 w 232"/>
                    <a:gd name="T55" fmla="*/ 25 h 607"/>
                    <a:gd name="T56" fmla="*/ 66 w 232"/>
                    <a:gd name="T57" fmla="*/ 12 h 607"/>
                    <a:gd name="T58" fmla="*/ 90 w 232"/>
                    <a:gd name="T59" fmla="*/ 3 h 607"/>
                    <a:gd name="T60" fmla="*/ 117 w 232"/>
                    <a:gd name="T61" fmla="*/ 0 h 6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32" h="607">
                      <a:moveTo>
                        <a:pt x="117" y="0"/>
                      </a:moveTo>
                      <a:lnTo>
                        <a:pt x="143" y="3"/>
                      </a:lnTo>
                      <a:lnTo>
                        <a:pt x="168" y="12"/>
                      </a:lnTo>
                      <a:lnTo>
                        <a:pt x="190" y="25"/>
                      </a:lnTo>
                      <a:lnTo>
                        <a:pt x="207" y="43"/>
                      </a:lnTo>
                      <a:lnTo>
                        <a:pt x="221" y="64"/>
                      </a:lnTo>
                      <a:lnTo>
                        <a:pt x="229" y="88"/>
                      </a:lnTo>
                      <a:lnTo>
                        <a:pt x="232" y="114"/>
                      </a:lnTo>
                      <a:lnTo>
                        <a:pt x="232" y="494"/>
                      </a:lnTo>
                      <a:lnTo>
                        <a:pt x="229" y="520"/>
                      </a:lnTo>
                      <a:lnTo>
                        <a:pt x="221" y="544"/>
                      </a:lnTo>
                      <a:lnTo>
                        <a:pt x="207" y="565"/>
                      </a:lnTo>
                      <a:lnTo>
                        <a:pt x="190" y="583"/>
                      </a:lnTo>
                      <a:lnTo>
                        <a:pt x="168" y="596"/>
                      </a:lnTo>
                      <a:lnTo>
                        <a:pt x="143" y="605"/>
                      </a:lnTo>
                      <a:lnTo>
                        <a:pt x="117" y="607"/>
                      </a:lnTo>
                      <a:lnTo>
                        <a:pt x="90" y="605"/>
                      </a:lnTo>
                      <a:lnTo>
                        <a:pt x="66" y="596"/>
                      </a:lnTo>
                      <a:lnTo>
                        <a:pt x="44" y="583"/>
                      </a:lnTo>
                      <a:lnTo>
                        <a:pt x="26" y="565"/>
                      </a:lnTo>
                      <a:lnTo>
                        <a:pt x="13" y="544"/>
                      </a:lnTo>
                      <a:lnTo>
                        <a:pt x="4" y="520"/>
                      </a:lnTo>
                      <a:lnTo>
                        <a:pt x="0" y="494"/>
                      </a:lnTo>
                      <a:lnTo>
                        <a:pt x="0" y="114"/>
                      </a:lnTo>
                      <a:lnTo>
                        <a:pt x="4" y="88"/>
                      </a:lnTo>
                      <a:lnTo>
                        <a:pt x="13" y="64"/>
                      </a:lnTo>
                      <a:lnTo>
                        <a:pt x="26" y="43"/>
                      </a:lnTo>
                      <a:lnTo>
                        <a:pt x="44" y="25"/>
                      </a:lnTo>
                      <a:lnTo>
                        <a:pt x="66" y="12"/>
                      </a:lnTo>
                      <a:lnTo>
                        <a:pt x="90" y="3"/>
                      </a:lnTo>
                      <a:lnTo>
                        <a:pt x="11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169"/>
                <p:cNvSpPr>
                  <a:spLocks/>
                </p:cNvSpPr>
                <p:nvPr/>
              </p:nvSpPr>
              <p:spPr bwMode="auto">
                <a:xfrm>
                  <a:off x="-1734" y="3699"/>
                  <a:ext cx="46" cy="152"/>
                </a:xfrm>
                <a:custGeom>
                  <a:avLst/>
                  <a:gdLst>
                    <a:gd name="T0" fmla="*/ 116 w 232"/>
                    <a:gd name="T1" fmla="*/ 0 h 759"/>
                    <a:gd name="T2" fmla="*/ 142 w 232"/>
                    <a:gd name="T3" fmla="*/ 3 h 759"/>
                    <a:gd name="T4" fmla="*/ 167 w 232"/>
                    <a:gd name="T5" fmla="*/ 12 h 759"/>
                    <a:gd name="T6" fmla="*/ 188 w 232"/>
                    <a:gd name="T7" fmla="*/ 25 h 759"/>
                    <a:gd name="T8" fmla="*/ 207 w 232"/>
                    <a:gd name="T9" fmla="*/ 43 h 759"/>
                    <a:gd name="T10" fmla="*/ 220 w 232"/>
                    <a:gd name="T11" fmla="*/ 64 h 759"/>
                    <a:gd name="T12" fmla="*/ 229 w 232"/>
                    <a:gd name="T13" fmla="*/ 88 h 759"/>
                    <a:gd name="T14" fmla="*/ 232 w 232"/>
                    <a:gd name="T15" fmla="*/ 115 h 759"/>
                    <a:gd name="T16" fmla="*/ 232 w 232"/>
                    <a:gd name="T17" fmla="*/ 646 h 759"/>
                    <a:gd name="T18" fmla="*/ 229 w 232"/>
                    <a:gd name="T19" fmla="*/ 672 h 759"/>
                    <a:gd name="T20" fmla="*/ 220 w 232"/>
                    <a:gd name="T21" fmla="*/ 696 h 759"/>
                    <a:gd name="T22" fmla="*/ 207 w 232"/>
                    <a:gd name="T23" fmla="*/ 717 h 759"/>
                    <a:gd name="T24" fmla="*/ 188 w 232"/>
                    <a:gd name="T25" fmla="*/ 735 h 759"/>
                    <a:gd name="T26" fmla="*/ 167 w 232"/>
                    <a:gd name="T27" fmla="*/ 748 h 759"/>
                    <a:gd name="T28" fmla="*/ 142 w 232"/>
                    <a:gd name="T29" fmla="*/ 757 h 759"/>
                    <a:gd name="T30" fmla="*/ 116 w 232"/>
                    <a:gd name="T31" fmla="*/ 759 h 759"/>
                    <a:gd name="T32" fmla="*/ 89 w 232"/>
                    <a:gd name="T33" fmla="*/ 757 h 759"/>
                    <a:gd name="T34" fmla="*/ 66 w 232"/>
                    <a:gd name="T35" fmla="*/ 748 h 759"/>
                    <a:gd name="T36" fmla="*/ 44 w 232"/>
                    <a:gd name="T37" fmla="*/ 735 h 759"/>
                    <a:gd name="T38" fmla="*/ 26 w 232"/>
                    <a:gd name="T39" fmla="*/ 717 h 759"/>
                    <a:gd name="T40" fmla="*/ 13 w 232"/>
                    <a:gd name="T41" fmla="*/ 696 h 759"/>
                    <a:gd name="T42" fmla="*/ 3 w 232"/>
                    <a:gd name="T43" fmla="*/ 672 h 759"/>
                    <a:gd name="T44" fmla="*/ 0 w 232"/>
                    <a:gd name="T45" fmla="*/ 646 h 759"/>
                    <a:gd name="T46" fmla="*/ 0 w 232"/>
                    <a:gd name="T47" fmla="*/ 115 h 759"/>
                    <a:gd name="T48" fmla="*/ 3 w 232"/>
                    <a:gd name="T49" fmla="*/ 88 h 759"/>
                    <a:gd name="T50" fmla="*/ 13 w 232"/>
                    <a:gd name="T51" fmla="*/ 64 h 759"/>
                    <a:gd name="T52" fmla="*/ 26 w 232"/>
                    <a:gd name="T53" fmla="*/ 43 h 759"/>
                    <a:gd name="T54" fmla="*/ 44 w 232"/>
                    <a:gd name="T55" fmla="*/ 25 h 759"/>
                    <a:gd name="T56" fmla="*/ 66 w 232"/>
                    <a:gd name="T57" fmla="*/ 12 h 759"/>
                    <a:gd name="T58" fmla="*/ 89 w 232"/>
                    <a:gd name="T59" fmla="*/ 3 h 759"/>
                    <a:gd name="T60" fmla="*/ 116 w 232"/>
                    <a:gd name="T61" fmla="*/ 0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32" h="759">
                      <a:moveTo>
                        <a:pt x="116" y="0"/>
                      </a:moveTo>
                      <a:lnTo>
                        <a:pt x="142" y="3"/>
                      </a:lnTo>
                      <a:lnTo>
                        <a:pt x="167" y="12"/>
                      </a:lnTo>
                      <a:lnTo>
                        <a:pt x="188" y="25"/>
                      </a:lnTo>
                      <a:lnTo>
                        <a:pt x="207" y="43"/>
                      </a:lnTo>
                      <a:lnTo>
                        <a:pt x="220" y="64"/>
                      </a:lnTo>
                      <a:lnTo>
                        <a:pt x="229" y="88"/>
                      </a:lnTo>
                      <a:lnTo>
                        <a:pt x="232" y="115"/>
                      </a:lnTo>
                      <a:lnTo>
                        <a:pt x="232" y="646"/>
                      </a:lnTo>
                      <a:lnTo>
                        <a:pt x="229" y="672"/>
                      </a:lnTo>
                      <a:lnTo>
                        <a:pt x="220" y="696"/>
                      </a:lnTo>
                      <a:lnTo>
                        <a:pt x="207" y="717"/>
                      </a:lnTo>
                      <a:lnTo>
                        <a:pt x="188" y="735"/>
                      </a:lnTo>
                      <a:lnTo>
                        <a:pt x="167" y="748"/>
                      </a:lnTo>
                      <a:lnTo>
                        <a:pt x="142" y="757"/>
                      </a:lnTo>
                      <a:lnTo>
                        <a:pt x="116" y="759"/>
                      </a:lnTo>
                      <a:lnTo>
                        <a:pt x="89" y="757"/>
                      </a:lnTo>
                      <a:lnTo>
                        <a:pt x="66" y="748"/>
                      </a:lnTo>
                      <a:lnTo>
                        <a:pt x="44" y="735"/>
                      </a:lnTo>
                      <a:lnTo>
                        <a:pt x="26" y="717"/>
                      </a:lnTo>
                      <a:lnTo>
                        <a:pt x="13" y="696"/>
                      </a:lnTo>
                      <a:lnTo>
                        <a:pt x="3" y="672"/>
                      </a:lnTo>
                      <a:lnTo>
                        <a:pt x="0" y="646"/>
                      </a:lnTo>
                      <a:lnTo>
                        <a:pt x="0" y="115"/>
                      </a:lnTo>
                      <a:lnTo>
                        <a:pt x="3" y="88"/>
                      </a:lnTo>
                      <a:lnTo>
                        <a:pt x="13" y="64"/>
                      </a:lnTo>
                      <a:lnTo>
                        <a:pt x="26" y="43"/>
                      </a:lnTo>
                      <a:lnTo>
                        <a:pt x="44" y="25"/>
                      </a:lnTo>
                      <a:lnTo>
                        <a:pt x="66" y="12"/>
                      </a:lnTo>
                      <a:lnTo>
                        <a:pt x="89" y="3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170"/>
                <p:cNvSpPr>
                  <a:spLocks/>
                </p:cNvSpPr>
                <p:nvPr/>
              </p:nvSpPr>
              <p:spPr bwMode="auto">
                <a:xfrm>
                  <a:off x="-1657" y="3669"/>
                  <a:ext cx="46" cy="182"/>
                </a:xfrm>
                <a:custGeom>
                  <a:avLst/>
                  <a:gdLst>
                    <a:gd name="T0" fmla="*/ 115 w 230"/>
                    <a:gd name="T1" fmla="*/ 0 h 911"/>
                    <a:gd name="T2" fmla="*/ 141 w 230"/>
                    <a:gd name="T3" fmla="*/ 3 h 911"/>
                    <a:gd name="T4" fmla="*/ 166 w 230"/>
                    <a:gd name="T5" fmla="*/ 12 h 911"/>
                    <a:gd name="T6" fmla="*/ 187 w 230"/>
                    <a:gd name="T7" fmla="*/ 25 h 911"/>
                    <a:gd name="T8" fmla="*/ 206 w 230"/>
                    <a:gd name="T9" fmla="*/ 43 h 911"/>
                    <a:gd name="T10" fmla="*/ 219 w 230"/>
                    <a:gd name="T11" fmla="*/ 64 h 911"/>
                    <a:gd name="T12" fmla="*/ 227 w 230"/>
                    <a:gd name="T13" fmla="*/ 88 h 911"/>
                    <a:gd name="T14" fmla="*/ 230 w 230"/>
                    <a:gd name="T15" fmla="*/ 114 h 911"/>
                    <a:gd name="T16" fmla="*/ 230 w 230"/>
                    <a:gd name="T17" fmla="*/ 798 h 911"/>
                    <a:gd name="T18" fmla="*/ 227 w 230"/>
                    <a:gd name="T19" fmla="*/ 824 h 911"/>
                    <a:gd name="T20" fmla="*/ 219 w 230"/>
                    <a:gd name="T21" fmla="*/ 848 h 911"/>
                    <a:gd name="T22" fmla="*/ 206 w 230"/>
                    <a:gd name="T23" fmla="*/ 869 h 911"/>
                    <a:gd name="T24" fmla="*/ 187 w 230"/>
                    <a:gd name="T25" fmla="*/ 887 h 911"/>
                    <a:gd name="T26" fmla="*/ 166 w 230"/>
                    <a:gd name="T27" fmla="*/ 900 h 911"/>
                    <a:gd name="T28" fmla="*/ 141 w 230"/>
                    <a:gd name="T29" fmla="*/ 909 h 911"/>
                    <a:gd name="T30" fmla="*/ 115 w 230"/>
                    <a:gd name="T31" fmla="*/ 911 h 911"/>
                    <a:gd name="T32" fmla="*/ 88 w 230"/>
                    <a:gd name="T33" fmla="*/ 909 h 911"/>
                    <a:gd name="T34" fmla="*/ 64 w 230"/>
                    <a:gd name="T35" fmla="*/ 900 h 911"/>
                    <a:gd name="T36" fmla="*/ 42 w 230"/>
                    <a:gd name="T37" fmla="*/ 887 h 911"/>
                    <a:gd name="T38" fmla="*/ 25 w 230"/>
                    <a:gd name="T39" fmla="*/ 869 h 911"/>
                    <a:gd name="T40" fmla="*/ 11 w 230"/>
                    <a:gd name="T41" fmla="*/ 848 h 911"/>
                    <a:gd name="T42" fmla="*/ 3 w 230"/>
                    <a:gd name="T43" fmla="*/ 824 h 911"/>
                    <a:gd name="T44" fmla="*/ 0 w 230"/>
                    <a:gd name="T45" fmla="*/ 798 h 911"/>
                    <a:gd name="T46" fmla="*/ 0 w 230"/>
                    <a:gd name="T47" fmla="*/ 114 h 911"/>
                    <a:gd name="T48" fmla="*/ 3 w 230"/>
                    <a:gd name="T49" fmla="*/ 88 h 911"/>
                    <a:gd name="T50" fmla="*/ 11 w 230"/>
                    <a:gd name="T51" fmla="*/ 64 h 911"/>
                    <a:gd name="T52" fmla="*/ 25 w 230"/>
                    <a:gd name="T53" fmla="*/ 43 h 911"/>
                    <a:gd name="T54" fmla="*/ 42 w 230"/>
                    <a:gd name="T55" fmla="*/ 25 h 911"/>
                    <a:gd name="T56" fmla="*/ 64 w 230"/>
                    <a:gd name="T57" fmla="*/ 12 h 911"/>
                    <a:gd name="T58" fmla="*/ 88 w 230"/>
                    <a:gd name="T59" fmla="*/ 3 h 911"/>
                    <a:gd name="T60" fmla="*/ 115 w 230"/>
                    <a:gd name="T61" fmla="*/ 0 h 9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30" h="911">
                      <a:moveTo>
                        <a:pt x="115" y="0"/>
                      </a:moveTo>
                      <a:lnTo>
                        <a:pt x="141" y="3"/>
                      </a:lnTo>
                      <a:lnTo>
                        <a:pt x="166" y="12"/>
                      </a:lnTo>
                      <a:lnTo>
                        <a:pt x="187" y="25"/>
                      </a:lnTo>
                      <a:lnTo>
                        <a:pt x="206" y="43"/>
                      </a:lnTo>
                      <a:lnTo>
                        <a:pt x="219" y="64"/>
                      </a:lnTo>
                      <a:lnTo>
                        <a:pt x="227" y="88"/>
                      </a:lnTo>
                      <a:lnTo>
                        <a:pt x="230" y="114"/>
                      </a:lnTo>
                      <a:lnTo>
                        <a:pt x="230" y="798"/>
                      </a:lnTo>
                      <a:lnTo>
                        <a:pt x="227" y="824"/>
                      </a:lnTo>
                      <a:lnTo>
                        <a:pt x="219" y="848"/>
                      </a:lnTo>
                      <a:lnTo>
                        <a:pt x="206" y="869"/>
                      </a:lnTo>
                      <a:lnTo>
                        <a:pt x="187" y="887"/>
                      </a:lnTo>
                      <a:lnTo>
                        <a:pt x="166" y="900"/>
                      </a:lnTo>
                      <a:lnTo>
                        <a:pt x="141" y="909"/>
                      </a:lnTo>
                      <a:lnTo>
                        <a:pt x="115" y="911"/>
                      </a:lnTo>
                      <a:lnTo>
                        <a:pt x="88" y="909"/>
                      </a:lnTo>
                      <a:lnTo>
                        <a:pt x="64" y="900"/>
                      </a:lnTo>
                      <a:lnTo>
                        <a:pt x="42" y="887"/>
                      </a:lnTo>
                      <a:lnTo>
                        <a:pt x="25" y="869"/>
                      </a:lnTo>
                      <a:lnTo>
                        <a:pt x="11" y="848"/>
                      </a:lnTo>
                      <a:lnTo>
                        <a:pt x="3" y="824"/>
                      </a:lnTo>
                      <a:lnTo>
                        <a:pt x="0" y="798"/>
                      </a:lnTo>
                      <a:lnTo>
                        <a:pt x="0" y="114"/>
                      </a:lnTo>
                      <a:lnTo>
                        <a:pt x="3" y="88"/>
                      </a:lnTo>
                      <a:lnTo>
                        <a:pt x="11" y="64"/>
                      </a:lnTo>
                      <a:lnTo>
                        <a:pt x="25" y="43"/>
                      </a:lnTo>
                      <a:lnTo>
                        <a:pt x="42" y="25"/>
                      </a:lnTo>
                      <a:lnTo>
                        <a:pt x="64" y="12"/>
                      </a:lnTo>
                      <a:lnTo>
                        <a:pt x="88" y="3"/>
                      </a:lnTo>
                      <a:lnTo>
                        <a:pt x="11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171"/>
                <p:cNvSpPr>
                  <a:spLocks/>
                </p:cNvSpPr>
                <p:nvPr/>
              </p:nvSpPr>
              <p:spPr bwMode="auto">
                <a:xfrm>
                  <a:off x="-1919" y="3510"/>
                  <a:ext cx="679" cy="440"/>
                </a:xfrm>
                <a:custGeom>
                  <a:avLst/>
                  <a:gdLst>
                    <a:gd name="T0" fmla="*/ 3240 w 3394"/>
                    <a:gd name="T1" fmla="*/ 0 h 2203"/>
                    <a:gd name="T2" fmla="*/ 3300 w 3394"/>
                    <a:gd name="T3" fmla="*/ 11 h 2203"/>
                    <a:gd name="T4" fmla="*/ 3349 w 3394"/>
                    <a:gd name="T5" fmla="*/ 44 h 2203"/>
                    <a:gd name="T6" fmla="*/ 3382 w 3394"/>
                    <a:gd name="T7" fmla="*/ 92 h 2203"/>
                    <a:gd name="T8" fmla="*/ 3394 w 3394"/>
                    <a:gd name="T9" fmla="*/ 152 h 2203"/>
                    <a:gd name="T10" fmla="*/ 3187 w 3394"/>
                    <a:gd name="T11" fmla="*/ 1669 h 2203"/>
                    <a:gd name="T12" fmla="*/ 3245 w 3394"/>
                    <a:gd name="T13" fmla="*/ 1543 h 2203"/>
                    <a:gd name="T14" fmla="*/ 3281 w 3394"/>
                    <a:gd name="T15" fmla="*/ 1409 h 2203"/>
                    <a:gd name="T16" fmla="*/ 3294 w 3394"/>
                    <a:gd name="T17" fmla="*/ 1271 h 2203"/>
                    <a:gd name="T18" fmla="*/ 3282 w 3394"/>
                    <a:gd name="T19" fmla="*/ 1139 h 2203"/>
                    <a:gd name="T20" fmla="*/ 3251 w 3394"/>
                    <a:gd name="T21" fmla="*/ 1012 h 2203"/>
                    <a:gd name="T22" fmla="*/ 3199 w 3394"/>
                    <a:gd name="T23" fmla="*/ 894 h 2203"/>
                    <a:gd name="T24" fmla="*/ 3128 w 3394"/>
                    <a:gd name="T25" fmla="*/ 783 h 2203"/>
                    <a:gd name="T26" fmla="*/ 3085 w 3394"/>
                    <a:gd name="T27" fmla="*/ 304 h 2203"/>
                    <a:gd name="T28" fmla="*/ 309 w 3394"/>
                    <a:gd name="T29" fmla="*/ 1899 h 2203"/>
                    <a:gd name="T30" fmla="*/ 1989 w 3394"/>
                    <a:gd name="T31" fmla="*/ 1937 h 2203"/>
                    <a:gd name="T32" fmla="*/ 2097 w 3394"/>
                    <a:gd name="T33" fmla="*/ 2001 h 2203"/>
                    <a:gd name="T34" fmla="*/ 2214 w 3394"/>
                    <a:gd name="T35" fmla="*/ 2048 h 2203"/>
                    <a:gd name="T36" fmla="*/ 2338 w 3394"/>
                    <a:gd name="T37" fmla="*/ 2077 h 2203"/>
                    <a:gd name="T38" fmla="*/ 2465 w 3394"/>
                    <a:gd name="T39" fmla="*/ 2086 h 2203"/>
                    <a:gd name="T40" fmla="*/ 2607 w 3394"/>
                    <a:gd name="T41" fmla="*/ 2074 h 2203"/>
                    <a:gd name="T42" fmla="*/ 2743 w 3394"/>
                    <a:gd name="T43" fmla="*/ 2039 h 2203"/>
                    <a:gd name="T44" fmla="*/ 2871 w 3394"/>
                    <a:gd name="T45" fmla="*/ 1980 h 2203"/>
                    <a:gd name="T46" fmla="*/ 3089 w 3394"/>
                    <a:gd name="T47" fmla="*/ 2195 h 2203"/>
                    <a:gd name="T48" fmla="*/ 3098 w 3394"/>
                    <a:gd name="T49" fmla="*/ 2203 h 2203"/>
                    <a:gd name="T50" fmla="*/ 124 w 3394"/>
                    <a:gd name="T51" fmla="*/ 2199 h 2203"/>
                    <a:gd name="T52" fmla="*/ 69 w 3394"/>
                    <a:gd name="T53" fmla="*/ 2177 h 2203"/>
                    <a:gd name="T54" fmla="*/ 26 w 3394"/>
                    <a:gd name="T55" fmla="*/ 2135 h 2203"/>
                    <a:gd name="T56" fmla="*/ 3 w 3394"/>
                    <a:gd name="T57" fmla="*/ 2081 h 2203"/>
                    <a:gd name="T58" fmla="*/ 0 w 3394"/>
                    <a:gd name="T59" fmla="*/ 152 h 2203"/>
                    <a:gd name="T60" fmla="*/ 12 w 3394"/>
                    <a:gd name="T61" fmla="*/ 93 h 2203"/>
                    <a:gd name="T62" fmla="*/ 46 w 3394"/>
                    <a:gd name="T63" fmla="*/ 44 h 2203"/>
                    <a:gd name="T64" fmla="*/ 95 w 3394"/>
                    <a:gd name="T65" fmla="*/ 11 h 2203"/>
                    <a:gd name="T66" fmla="*/ 155 w 3394"/>
                    <a:gd name="T67" fmla="*/ 0 h 2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394" h="2203">
                      <a:moveTo>
                        <a:pt x="155" y="0"/>
                      </a:moveTo>
                      <a:lnTo>
                        <a:pt x="3240" y="0"/>
                      </a:lnTo>
                      <a:lnTo>
                        <a:pt x="3271" y="3"/>
                      </a:lnTo>
                      <a:lnTo>
                        <a:pt x="3300" y="11"/>
                      </a:lnTo>
                      <a:lnTo>
                        <a:pt x="3326" y="26"/>
                      </a:lnTo>
                      <a:lnTo>
                        <a:pt x="3349" y="44"/>
                      </a:lnTo>
                      <a:lnTo>
                        <a:pt x="3368" y="67"/>
                      </a:lnTo>
                      <a:lnTo>
                        <a:pt x="3382" y="92"/>
                      </a:lnTo>
                      <a:lnTo>
                        <a:pt x="3391" y="121"/>
                      </a:lnTo>
                      <a:lnTo>
                        <a:pt x="3394" y="152"/>
                      </a:lnTo>
                      <a:lnTo>
                        <a:pt x="3394" y="1874"/>
                      </a:lnTo>
                      <a:lnTo>
                        <a:pt x="3187" y="1669"/>
                      </a:lnTo>
                      <a:lnTo>
                        <a:pt x="3219" y="1608"/>
                      </a:lnTo>
                      <a:lnTo>
                        <a:pt x="3245" y="1543"/>
                      </a:lnTo>
                      <a:lnTo>
                        <a:pt x="3266" y="1478"/>
                      </a:lnTo>
                      <a:lnTo>
                        <a:pt x="3281" y="1409"/>
                      </a:lnTo>
                      <a:lnTo>
                        <a:pt x="3291" y="1341"/>
                      </a:lnTo>
                      <a:lnTo>
                        <a:pt x="3294" y="1271"/>
                      </a:lnTo>
                      <a:lnTo>
                        <a:pt x="3291" y="1205"/>
                      </a:lnTo>
                      <a:lnTo>
                        <a:pt x="3282" y="1139"/>
                      </a:lnTo>
                      <a:lnTo>
                        <a:pt x="3269" y="1075"/>
                      </a:lnTo>
                      <a:lnTo>
                        <a:pt x="3251" y="1012"/>
                      </a:lnTo>
                      <a:lnTo>
                        <a:pt x="3227" y="952"/>
                      </a:lnTo>
                      <a:lnTo>
                        <a:pt x="3199" y="894"/>
                      </a:lnTo>
                      <a:lnTo>
                        <a:pt x="3166" y="836"/>
                      </a:lnTo>
                      <a:lnTo>
                        <a:pt x="3128" y="783"/>
                      </a:lnTo>
                      <a:lnTo>
                        <a:pt x="3085" y="732"/>
                      </a:lnTo>
                      <a:lnTo>
                        <a:pt x="3085" y="304"/>
                      </a:lnTo>
                      <a:lnTo>
                        <a:pt x="309" y="304"/>
                      </a:lnTo>
                      <a:lnTo>
                        <a:pt x="309" y="1899"/>
                      </a:lnTo>
                      <a:lnTo>
                        <a:pt x="1938" y="1899"/>
                      </a:lnTo>
                      <a:lnTo>
                        <a:pt x="1989" y="1937"/>
                      </a:lnTo>
                      <a:lnTo>
                        <a:pt x="2042" y="1971"/>
                      </a:lnTo>
                      <a:lnTo>
                        <a:pt x="2097" y="2001"/>
                      </a:lnTo>
                      <a:lnTo>
                        <a:pt x="2155" y="2027"/>
                      </a:lnTo>
                      <a:lnTo>
                        <a:pt x="2214" y="2048"/>
                      </a:lnTo>
                      <a:lnTo>
                        <a:pt x="2275" y="2064"/>
                      </a:lnTo>
                      <a:lnTo>
                        <a:pt x="2338" y="2077"/>
                      </a:lnTo>
                      <a:lnTo>
                        <a:pt x="2401" y="2084"/>
                      </a:lnTo>
                      <a:lnTo>
                        <a:pt x="2465" y="2086"/>
                      </a:lnTo>
                      <a:lnTo>
                        <a:pt x="2537" y="2083"/>
                      </a:lnTo>
                      <a:lnTo>
                        <a:pt x="2607" y="2074"/>
                      </a:lnTo>
                      <a:lnTo>
                        <a:pt x="2675" y="2059"/>
                      </a:lnTo>
                      <a:lnTo>
                        <a:pt x="2743" y="2039"/>
                      </a:lnTo>
                      <a:lnTo>
                        <a:pt x="2808" y="2012"/>
                      </a:lnTo>
                      <a:lnTo>
                        <a:pt x="2871" y="1980"/>
                      </a:lnTo>
                      <a:lnTo>
                        <a:pt x="3085" y="2191"/>
                      </a:lnTo>
                      <a:lnTo>
                        <a:pt x="3089" y="2195"/>
                      </a:lnTo>
                      <a:lnTo>
                        <a:pt x="3094" y="2198"/>
                      </a:lnTo>
                      <a:lnTo>
                        <a:pt x="3098" y="2203"/>
                      </a:lnTo>
                      <a:lnTo>
                        <a:pt x="155" y="2203"/>
                      </a:lnTo>
                      <a:lnTo>
                        <a:pt x="124" y="2199"/>
                      </a:lnTo>
                      <a:lnTo>
                        <a:pt x="95" y="2190"/>
                      </a:lnTo>
                      <a:lnTo>
                        <a:pt x="69" y="2177"/>
                      </a:lnTo>
                      <a:lnTo>
                        <a:pt x="46" y="2158"/>
                      </a:lnTo>
                      <a:lnTo>
                        <a:pt x="26" y="2135"/>
                      </a:lnTo>
                      <a:lnTo>
                        <a:pt x="12" y="2109"/>
                      </a:lnTo>
                      <a:lnTo>
                        <a:pt x="3" y="2081"/>
                      </a:lnTo>
                      <a:lnTo>
                        <a:pt x="0" y="2051"/>
                      </a:lnTo>
                      <a:lnTo>
                        <a:pt x="0" y="152"/>
                      </a:lnTo>
                      <a:lnTo>
                        <a:pt x="3" y="121"/>
                      </a:lnTo>
                      <a:lnTo>
                        <a:pt x="12" y="93"/>
                      </a:lnTo>
                      <a:lnTo>
                        <a:pt x="26" y="67"/>
                      </a:lnTo>
                      <a:lnTo>
                        <a:pt x="46" y="44"/>
                      </a:lnTo>
                      <a:lnTo>
                        <a:pt x="69" y="26"/>
                      </a:lnTo>
                      <a:lnTo>
                        <a:pt x="95" y="11"/>
                      </a:lnTo>
                      <a:lnTo>
                        <a:pt x="124" y="3"/>
                      </a:lnTo>
                      <a:lnTo>
                        <a:pt x="1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172"/>
                <p:cNvSpPr>
                  <a:spLocks noEditPoints="1"/>
                </p:cNvSpPr>
                <p:nvPr/>
              </p:nvSpPr>
              <p:spPr bwMode="auto">
                <a:xfrm>
                  <a:off x="-1561" y="3631"/>
                  <a:ext cx="304" cy="299"/>
                </a:xfrm>
                <a:custGeom>
                  <a:avLst/>
                  <a:gdLst>
                    <a:gd name="T0" fmla="*/ 568 w 1520"/>
                    <a:gd name="T1" fmla="*/ 146 h 1495"/>
                    <a:gd name="T2" fmla="*/ 422 w 1520"/>
                    <a:gd name="T3" fmla="*/ 198 h 1495"/>
                    <a:gd name="T4" fmla="*/ 295 w 1520"/>
                    <a:gd name="T5" fmla="*/ 291 h 1495"/>
                    <a:gd name="T6" fmla="*/ 202 w 1520"/>
                    <a:gd name="T7" fmla="*/ 415 h 1495"/>
                    <a:gd name="T8" fmla="*/ 149 w 1520"/>
                    <a:gd name="T9" fmla="*/ 560 h 1495"/>
                    <a:gd name="T10" fmla="*/ 141 w 1520"/>
                    <a:gd name="T11" fmla="*/ 715 h 1495"/>
                    <a:gd name="T12" fmla="*/ 179 w 1520"/>
                    <a:gd name="T13" fmla="*/ 865 h 1495"/>
                    <a:gd name="T14" fmla="*/ 260 w 1520"/>
                    <a:gd name="T15" fmla="*/ 997 h 1495"/>
                    <a:gd name="T16" fmla="*/ 377 w 1520"/>
                    <a:gd name="T17" fmla="*/ 1101 h 1495"/>
                    <a:gd name="T18" fmla="*/ 518 w 1520"/>
                    <a:gd name="T19" fmla="*/ 1168 h 1495"/>
                    <a:gd name="T20" fmla="*/ 673 w 1520"/>
                    <a:gd name="T21" fmla="*/ 1190 h 1495"/>
                    <a:gd name="T22" fmla="*/ 829 w 1520"/>
                    <a:gd name="T23" fmla="*/ 1168 h 1495"/>
                    <a:gd name="T24" fmla="*/ 971 w 1520"/>
                    <a:gd name="T25" fmla="*/ 1101 h 1495"/>
                    <a:gd name="T26" fmla="*/ 1088 w 1520"/>
                    <a:gd name="T27" fmla="*/ 997 h 1495"/>
                    <a:gd name="T28" fmla="*/ 1168 w 1520"/>
                    <a:gd name="T29" fmla="*/ 865 h 1495"/>
                    <a:gd name="T30" fmla="*/ 1207 w 1520"/>
                    <a:gd name="T31" fmla="*/ 715 h 1495"/>
                    <a:gd name="T32" fmla="*/ 1198 w 1520"/>
                    <a:gd name="T33" fmla="*/ 560 h 1495"/>
                    <a:gd name="T34" fmla="*/ 1146 w 1520"/>
                    <a:gd name="T35" fmla="*/ 415 h 1495"/>
                    <a:gd name="T36" fmla="*/ 1053 w 1520"/>
                    <a:gd name="T37" fmla="*/ 291 h 1495"/>
                    <a:gd name="T38" fmla="*/ 926 w 1520"/>
                    <a:gd name="T39" fmla="*/ 198 h 1495"/>
                    <a:gd name="T40" fmla="*/ 779 w 1520"/>
                    <a:gd name="T41" fmla="*/ 146 h 1495"/>
                    <a:gd name="T42" fmla="*/ 673 w 1520"/>
                    <a:gd name="T43" fmla="*/ 0 h 1495"/>
                    <a:gd name="T44" fmla="*/ 849 w 1520"/>
                    <a:gd name="T45" fmla="*/ 23 h 1495"/>
                    <a:gd name="T46" fmla="*/ 1010 w 1520"/>
                    <a:gd name="T47" fmla="*/ 88 h 1495"/>
                    <a:gd name="T48" fmla="*/ 1151 w 1520"/>
                    <a:gd name="T49" fmla="*/ 195 h 1495"/>
                    <a:gd name="T50" fmla="*/ 1258 w 1520"/>
                    <a:gd name="T51" fmla="*/ 332 h 1495"/>
                    <a:gd name="T52" fmla="*/ 1324 w 1520"/>
                    <a:gd name="T53" fmla="*/ 490 h 1495"/>
                    <a:gd name="T54" fmla="*/ 1347 w 1520"/>
                    <a:gd name="T55" fmla="*/ 663 h 1495"/>
                    <a:gd name="T56" fmla="*/ 1322 w 1520"/>
                    <a:gd name="T57" fmla="*/ 841 h 1495"/>
                    <a:gd name="T58" fmla="*/ 1251 w 1520"/>
                    <a:gd name="T59" fmla="*/ 1004 h 1495"/>
                    <a:gd name="T60" fmla="*/ 1211 w 1520"/>
                    <a:gd name="T61" fmla="*/ 1132 h 1495"/>
                    <a:gd name="T62" fmla="*/ 1256 w 1520"/>
                    <a:gd name="T63" fmla="*/ 1142 h 1495"/>
                    <a:gd name="T64" fmla="*/ 1511 w 1520"/>
                    <a:gd name="T65" fmla="*/ 1395 h 1495"/>
                    <a:gd name="T66" fmla="*/ 1517 w 1520"/>
                    <a:gd name="T67" fmla="*/ 1445 h 1495"/>
                    <a:gd name="T68" fmla="*/ 1485 w 1520"/>
                    <a:gd name="T69" fmla="*/ 1487 h 1495"/>
                    <a:gd name="T70" fmla="*/ 1433 w 1520"/>
                    <a:gd name="T71" fmla="*/ 1493 h 1495"/>
                    <a:gd name="T72" fmla="*/ 1170 w 1520"/>
                    <a:gd name="T73" fmla="*/ 1248 h 1495"/>
                    <a:gd name="T74" fmla="*/ 1151 w 1520"/>
                    <a:gd name="T75" fmla="*/ 1208 h 1495"/>
                    <a:gd name="T76" fmla="*/ 1070 w 1520"/>
                    <a:gd name="T77" fmla="*/ 1198 h 1495"/>
                    <a:gd name="T78" fmla="*/ 911 w 1520"/>
                    <a:gd name="T79" fmla="*/ 1283 h 1495"/>
                    <a:gd name="T80" fmla="*/ 735 w 1520"/>
                    <a:gd name="T81" fmla="*/ 1323 h 1495"/>
                    <a:gd name="T82" fmla="*/ 556 w 1520"/>
                    <a:gd name="T83" fmla="*/ 1316 h 1495"/>
                    <a:gd name="T84" fmla="*/ 390 w 1520"/>
                    <a:gd name="T85" fmla="*/ 1264 h 1495"/>
                    <a:gd name="T86" fmla="*/ 242 w 1520"/>
                    <a:gd name="T87" fmla="*/ 1172 h 1495"/>
                    <a:gd name="T88" fmla="*/ 122 w 1520"/>
                    <a:gd name="T89" fmla="*/ 1043 h 1495"/>
                    <a:gd name="T90" fmla="*/ 40 w 1520"/>
                    <a:gd name="T91" fmla="*/ 890 h 1495"/>
                    <a:gd name="T92" fmla="*/ 3 w 1520"/>
                    <a:gd name="T93" fmla="*/ 722 h 1495"/>
                    <a:gd name="T94" fmla="*/ 10 w 1520"/>
                    <a:gd name="T95" fmla="*/ 547 h 1495"/>
                    <a:gd name="T96" fmla="*/ 63 w 1520"/>
                    <a:gd name="T97" fmla="*/ 383 h 1495"/>
                    <a:gd name="T98" fmla="*/ 157 w 1520"/>
                    <a:gd name="T99" fmla="*/ 238 h 1495"/>
                    <a:gd name="T100" fmla="*/ 288 w 1520"/>
                    <a:gd name="T101" fmla="*/ 119 h 1495"/>
                    <a:gd name="T102" fmla="*/ 443 w 1520"/>
                    <a:gd name="T103" fmla="*/ 40 h 1495"/>
                    <a:gd name="T104" fmla="*/ 614 w 1520"/>
                    <a:gd name="T105" fmla="*/ 2 h 1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520" h="1495">
                      <a:moveTo>
                        <a:pt x="673" y="136"/>
                      </a:moveTo>
                      <a:lnTo>
                        <a:pt x="620" y="138"/>
                      </a:lnTo>
                      <a:lnTo>
                        <a:pt x="568" y="146"/>
                      </a:lnTo>
                      <a:lnTo>
                        <a:pt x="518" y="159"/>
                      </a:lnTo>
                      <a:lnTo>
                        <a:pt x="469" y="176"/>
                      </a:lnTo>
                      <a:lnTo>
                        <a:pt x="422" y="198"/>
                      </a:lnTo>
                      <a:lnTo>
                        <a:pt x="377" y="224"/>
                      </a:lnTo>
                      <a:lnTo>
                        <a:pt x="335" y="255"/>
                      </a:lnTo>
                      <a:lnTo>
                        <a:pt x="295" y="291"/>
                      </a:lnTo>
                      <a:lnTo>
                        <a:pt x="260" y="330"/>
                      </a:lnTo>
                      <a:lnTo>
                        <a:pt x="229" y="371"/>
                      </a:lnTo>
                      <a:lnTo>
                        <a:pt x="202" y="415"/>
                      </a:lnTo>
                      <a:lnTo>
                        <a:pt x="179" y="462"/>
                      </a:lnTo>
                      <a:lnTo>
                        <a:pt x="161" y="510"/>
                      </a:lnTo>
                      <a:lnTo>
                        <a:pt x="149" y="560"/>
                      </a:lnTo>
                      <a:lnTo>
                        <a:pt x="141" y="611"/>
                      </a:lnTo>
                      <a:lnTo>
                        <a:pt x="138" y="663"/>
                      </a:lnTo>
                      <a:lnTo>
                        <a:pt x="141" y="715"/>
                      </a:lnTo>
                      <a:lnTo>
                        <a:pt x="149" y="767"/>
                      </a:lnTo>
                      <a:lnTo>
                        <a:pt x="161" y="817"/>
                      </a:lnTo>
                      <a:lnTo>
                        <a:pt x="179" y="865"/>
                      </a:lnTo>
                      <a:lnTo>
                        <a:pt x="202" y="911"/>
                      </a:lnTo>
                      <a:lnTo>
                        <a:pt x="229" y="955"/>
                      </a:lnTo>
                      <a:lnTo>
                        <a:pt x="260" y="997"/>
                      </a:lnTo>
                      <a:lnTo>
                        <a:pt x="295" y="1036"/>
                      </a:lnTo>
                      <a:lnTo>
                        <a:pt x="335" y="1071"/>
                      </a:lnTo>
                      <a:lnTo>
                        <a:pt x="377" y="1101"/>
                      </a:lnTo>
                      <a:lnTo>
                        <a:pt x="422" y="1128"/>
                      </a:lnTo>
                      <a:lnTo>
                        <a:pt x="469" y="1150"/>
                      </a:lnTo>
                      <a:lnTo>
                        <a:pt x="518" y="1168"/>
                      </a:lnTo>
                      <a:lnTo>
                        <a:pt x="568" y="1180"/>
                      </a:lnTo>
                      <a:lnTo>
                        <a:pt x="620" y="1187"/>
                      </a:lnTo>
                      <a:lnTo>
                        <a:pt x="673" y="1190"/>
                      </a:lnTo>
                      <a:lnTo>
                        <a:pt x="726" y="1187"/>
                      </a:lnTo>
                      <a:lnTo>
                        <a:pt x="779" y="1180"/>
                      </a:lnTo>
                      <a:lnTo>
                        <a:pt x="829" y="1168"/>
                      </a:lnTo>
                      <a:lnTo>
                        <a:pt x="879" y="1150"/>
                      </a:lnTo>
                      <a:lnTo>
                        <a:pt x="926" y="1128"/>
                      </a:lnTo>
                      <a:lnTo>
                        <a:pt x="971" y="1101"/>
                      </a:lnTo>
                      <a:lnTo>
                        <a:pt x="1013" y="1071"/>
                      </a:lnTo>
                      <a:lnTo>
                        <a:pt x="1053" y="1036"/>
                      </a:lnTo>
                      <a:lnTo>
                        <a:pt x="1088" y="997"/>
                      </a:lnTo>
                      <a:lnTo>
                        <a:pt x="1119" y="955"/>
                      </a:lnTo>
                      <a:lnTo>
                        <a:pt x="1146" y="911"/>
                      </a:lnTo>
                      <a:lnTo>
                        <a:pt x="1168" y="865"/>
                      </a:lnTo>
                      <a:lnTo>
                        <a:pt x="1186" y="817"/>
                      </a:lnTo>
                      <a:lnTo>
                        <a:pt x="1198" y="767"/>
                      </a:lnTo>
                      <a:lnTo>
                        <a:pt x="1207" y="715"/>
                      </a:lnTo>
                      <a:lnTo>
                        <a:pt x="1209" y="663"/>
                      </a:lnTo>
                      <a:lnTo>
                        <a:pt x="1207" y="611"/>
                      </a:lnTo>
                      <a:lnTo>
                        <a:pt x="1198" y="560"/>
                      </a:lnTo>
                      <a:lnTo>
                        <a:pt x="1186" y="510"/>
                      </a:lnTo>
                      <a:lnTo>
                        <a:pt x="1168" y="462"/>
                      </a:lnTo>
                      <a:lnTo>
                        <a:pt x="1146" y="415"/>
                      </a:lnTo>
                      <a:lnTo>
                        <a:pt x="1119" y="371"/>
                      </a:lnTo>
                      <a:lnTo>
                        <a:pt x="1088" y="330"/>
                      </a:lnTo>
                      <a:lnTo>
                        <a:pt x="1053" y="291"/>
                      </a:lnTo>
                      <a:lnTo>
                        <a:pt x="1013" y="255"/>
                      </a:lnTo>
                      <a:lnTo>
                        <a:pt x="971" y="224"/>
                      </a:lnTo>
                      <a:lnTo>
                        <a:pt x="926" y="198"/>
                      </a:lnTo>
                      <a:lnTo>
                        <a:pt x="879" y="176"/>
                      </a:lnTo>
                      <a:lnTo>
                        <a:pt x="829" y="159"/>
                      </a:lnTo>
                      <a:lnTo>
                        <a:pt x="779" y="146"/>
                      </a:lnTo>
                      <a:lnTo>
                        <a:pt x="726" y="138"/>
                      </a:lnTo>
                      <a:lnTo>
                        <a:pt x="673" y="136"/>
                      </a:lnTo>
                      <a:close/>
                      <a:moveTo>
                        <a:pt x="673" y="0"/>
                      </a:moveTo>
                      <a:lnTo>
                        <a:pt x="734" y="2"/>
                      </a:lnTo>
                      <a:lnTo>
                        <a:pt x="792" y="10"/>
                      </a:lnTo>
                      <a:lnTo>
                        <a:pt x="849" y="23"/>
                      </a:lnTo>
                      <a:lnTo>
                        <a:pt x="904" y="40"/>
                      </a:lnTo>
                      <a:lnTo>
                        <a:pt x="958" y="61"/>
                      </a:lnTo>
                      <a:lnTo>
                        <a:pt x="1010" y="88"/>
                      </a:lnTo>
                      <a:lnTo>
                        <a:pt x="1059" y="119"/>
                      </a:lnTo>
                      <a:lnTo>
                        <a:pt x="1106" y="155"/>
                      </a:lnTo>
                      <a:lnTo>
                        <a:pt x="1151" y="195"/>
                      </a:lnTo>
                      <a:lnTo>
                        <a:pt x="1190" y="238"/>
                      </a:lnTo>
                      <a:lnTo>
                        <a:pt x="1226" y="284"/>
                      </a:lnTo>
                      <a:lnTo>
                        <a:pt x="1258" y="332"/>
                      </a:lnTo>
                      <a:lnTo>
                        <a:pt x="1285" y="383"/>
                      </a:lnTo>
                      <a:lnTo>
                        <a:pt x="1306" y="436"/>
                      </a:lnTo>
                      <a:lnTo>
                        <a:pt x="1324" y="490"/>
                      </a:lnTo>
                      <a:lnTo>
                        <a:pt x="1337" y="547"/>
                      </a:lnTo>
                      <a:lnTo>
                        <a:pt x="1345" y="604"/>
                      </a:lnTo>
                      <a:lnTo>
                        <a:pt x="1347" y="663"/>
                      </a:lnTo>
                      <a:lnTo>
                        <a:pt x="1344" y="724"/>
                      </a:lnTo>
                      <a:lnTo>
                        <a:pt x="1337" y="783"/>
                      </a:lnTo>
                      <a:lnTo>
                        <a:pt x="1322" y="841"/>
                      </a:lnTo>
                      <a:lnTo>
                        <a:pt x="1303" y="898"/>
                      </a:lnTo>
                      <a:lnTo>
                        <a:pt x="1279" y="952"/>
                      </a:lnTo>
                      <a:lnTo>
                        <a:pt x="1251" y="1004"/>
                      </a:lnTo>
                      <a:lnTo>
                        <a:pt x="1217" y="1053"/>
                      </a:lnTo>
                      <a:lnTo>
                        <a:pt x="1179" y="1100"/>
                      </a:lnTo>
                      <a:lnTo>
                        <a:pt x="1211" y="1132"/>
                      </a:lnTo>
                      <a:lnTo>
                        <a:pt x="1226" y="1132"/>
                      </a:lnTo>
                      <a:lnTo>
                        <a:pt x="1241" y="1135"/>
                      </a:lnTo>
                      <a:lnTo>
                        <a:pt x="1256" y="1142"/>
                      </a:lnTo>
                      <a:lnTo>
                        <a:pt x="1268" y="1151"/>
                      </a:lnTo>
                      <a:lnTo>
                        <a:pt x="1500" y="1381"/>
                      </a:lnTo>
                      <a:lnTo>
                        <a:pt x="1511" y="1395"/>
                      </a:lnTo>
                      <a:lnTo>
                        <a:pt x="1517" y="1411"/>
                      </a:lnTo>
                      <a:lnTo>
                        <a:pt x="1520" y="1428"/>
                      </a:lnTo>
                      <a:lnTo>
                        <a:pt x="1517" y="1445"/>
                      </a:lnTo>
                      <a:lnTo>
                        <a:pt x="1511" y="1462"/>
                      </a:lnTo>
                      <a:lnTo>
                        <a:pt x="1500" y="1476"/>
                      </a:lnTo>
                      <a:lnTo>
                        <a:pt x="1485" y="1487"/>
                      </a:lnTo>
                      <a:lnTo>
                        <a:pt x="1469" y="1493"/>
                      </a:lnTo>
                      <a:lnTo>
                        <a:pt x="1451" y="1495"/>
                      </a:lnTo>
                      <a:lnTo>
                        <a:pt x="1433" y="1493"/>
                      </a:lnTo>
                      <a:lnTo>
                        <a:pt x="1417" y="1487"/>
                      </a:lnTo>
                      <a:lnTo>
                        <a:pt x="1402" y="1476"/>
                      </a:lnTo>
                      <a:lnTo>
                        <a:pt x="1170" y="1248"/>
                      </a:lnTo>
                      <a:lnTo>
                        <a:pt x="1160" y="1235"/>
                      </a:lnTo>
                      <a:lnTo>
                        <a:pt x="1154" y="1222"/>
                      </a:lnTo>
                      <a:lnTo>
                        <a:pt x="1151" y="1208"/>
                      </a:lnTo>
                      <a:lnTo>
                        <a:pt x="1151" y="1192"/>
                      </a:lnTo>
                      <a:lnTo>
                        <a:pt x="1118" y="1161"/>
                      </a:lnTo>
                      <a:lnTo>
                        <a:pt x="1070" y="1198"/>
                      </a:lnTo>
                      <a:lnTo>
                        <a:pt x="1020" y="1231"/>
                      </a:lnTo>
                      <a:lnTo>
                        <a:pt x="967" y="1260"/>
                      </a:lnTo>
                      <a:lnTo>
                        <a:pt x="911" y="1283"/>
                      </a:lnTo>
                      <a:lnTo>
                        <a:pt x="854" y="1302"/>
                      </a:lnTo>
                      <a:lnTo>
                        <a:pt x="796" y="1315"/>
                      </a:lnTo>
                      <a:lnTo>
                        <a:pt x="735" y="1323"/>
                      </a:lnTo>
                      <a:lnTo>
                        <a:pt x="673" y="1326"/>
                      </a:lnTo>
                      <a:lnTo>
                        <a:pt x="614" y="1323"/>
                      </a:lnTo>
                      <a:lnTo>
                        <a:pt x="556" y="1316"/>
                      </a:lnTo>
                      <a:lnTo>
                        <a:pt x="499" y="1304"/>
                      </a:lnTo>
                      <a:lnTo>
                        <a:pt x="443" y="1287"/>
                      </a:lnTo>
                      <a:lnTo>
                        <a:pt x="390" y="1264"/>
                      </a:lnTo>
                      <a:lnTo>
                        <a:pt x="338" y="1238"/>
                      </a:lnTo>
                      <a:lnTo>
                        <a:pt x="288" y="1207"/>
                      </a:lnTo>
                      <a:lnTo>
                        <a:pt x="242" y="1172"/>
                      </a:lnTo>
                      <a:lnTo>
                        <a:pt x="197" y="1132"/>
                      </a:lnTo>
                      <a:lnTo>
                        <a:pt x="157" y="1089"/>
                      </a:lnTo>
                      <a:lnTo>
                        <a:pt x="122" y="1043"/>
                      </a:lnTo>
                      <a:lnTo>
                        <a:pt x="90" y="994"/>
                      </a:lnTo>
                      <a:lnTo>
                        <a:pt x="63" y="943"/>
                      </a:lnTo>
                      <a:lnTo>
                        <a:pt x="40" y="890"/>
                      </a:lnTo>
                      <a:lnTo>
                        <a:pt x="23" y="835"/>
                      </a:lnTo>
                      <a:lnTo>
                        <a:pt x="10" y="779"/>
                      </a:lnTo>
                      <a:lnTo>
                        <a:pt x="3" y="722"/>
                      </a:lnTo>
                      <a:lnTo>
                        <a:pt x="0" y="663"/>
                      </a:lnTo>
                      <a:lnTo>
                        <a:pt x="3" y="604"/>
                      </a:lnTo>
                      <a:lnTo>
                        <a:pt x="10" y="547"/>
                      </a:lnTo>
                      <a:lnTo>
                        <a:pt x="23" y="490"/>
                      </a:lnTo>
                      <a:lnTo>
                        <a:pt x="40" y="436"/>
                      </a:lnTo>
                      <a:lnTo>
                        <a:pt x="63" y="383"/>
                      </a:lnTo>
                      <a:lnTo>
                        <a:pt x="90" y="332"/>
                      </a:lnTo>
                      <a:lnTo>
                        <a:pt x="122" y="284"/>
                      </a:lnTo>
                      <a:lnTo>
                        <a:pt x="157" y="238"/>
                      </a:lnTo>
                      <a:lnTo>
                        <a:pt x="197" y="195"/>
                      </a:lnTo>
                      <a:lnTo>
                        <a:pt x="242" y="155"/>
                      </a:lnTo>
                      <a:lnTo>
                        <a:pt x="288" y="119"/>
                      </a:lnTo>
                      <a:lnTo>
                        <a:pt x="338" y="88"/>
                      </a:lnTo>
                      <a:lnTo>
                        <a:pt x="390" y="61"/>
                      </a:lnTo>
                      <a:lnTo>
                        <a:pt x="443" y="40"/>
                      </a:lnTo>
                      <a:lnTo>
                        <a:pt x="499" y="23"/>
                      </a:lnTo>
                      <a:lnTo>
                        <a:pt x="556" y="10"/>
                      </a:lnTo>
                      <a:lnTo>
                        <a:pt x="614" y="2"/>
                      </a:lnTo>
                      <a:lnTo>
                        <a:pt x="67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74" name="Group 175"/>
              <p:cNvGrpSpPr>
                <a:grpSpLocks noChangeAspect="1"/>
              </p:cNvGrpSpPr>
              <p:nvPr/>
            </p:nvGrpSpPr>
            <p:grpSpPr bwMode="auto">
              <a:xfrm>
                <a:off x="6158832" y="4947303"/>
                <a:ext cx="482650" cy="589905"/>
                <a:chOff x="-825" y="3791"/>
                <a:chExt cx="477" cy="583"/>
              </a:xfrm>
              <a:solidFill>
                <a:schemeClr val="bg1"/>
              </a:solidFill>
            </p:grpSpPr>
            <p:sp>
              <p:nvSpPr>
                <p:cNvPr id="75" name="Freeform 177"/>
                <p:cNvSpPr>
                  <a:spLocks noEditPoints="1"/>
                </p:cNvSpPr>
                <p:nvPr/>
              </p:nvSpPr>
              <p:spPr bwMode="auto">
                <a:xfrm>
                  <a:off x="-806" y="3914"/>
                  <a:ext cx="139" cy="131"/>
                </a:xfrm>
                <a:custGeom>
                  <a:avLst/>
                  <a:gdLst>
                    <a:gd name="T0" fmla="*/ 346 w 834"/>
                    <a:gd name="T1" fmla="*/ 246 h 783"/>
                    <a:gd name="T2" fmla="*/ 276 w 834"/>
                    <a:gd name="T3" fmla="*/ 304 h 783"/>
                    <a:gd name="T4" fmla="*/ 249 w 834"/>
                    <a:gd name="T5" fmla="*/ 391 h 783"/>
                    <a:gd name="T6" fmla="*/ 276 w 834"/>
                    <a:gd name="T7" fmla="*/ 480 h 783"/>
                    <a:gd name="T8" fmla="*/ 346 w 834"/>
                    <a:gd name="T9" fmla="*/ 537 h 783"/>
                    <a:gd name="T10" fmla="*/ 440 w 834"/>
                    <a:gd name="T11" fmla="*/ 547 h 783"/>
                    <a:gd name="T12" fmla="*/ 521 w 834"/>
                    <a:gd name="T13" fmla="*/ 503 h 783"/>
                    <a:gd name="T14" fmla="*/ 565 w 834"/>
                    <a:gd name="T15" fmla="*/ 423 h 783"/>
                    <a:gd name="T16" fmla="*/ 555 w 834"/>
                    <a:gd name="T17" fmla="*/ 330 h 783"/>
                    <a:gd name="T18" fmla="*/ 497 w 834"/>
                    <a:gd name="T19" fmla="*/ 261 h 783"/>
                    <a:gd name="T20" fmla="*/ 408 w 834"/>
                    <a:gd name="T21" fmla="*/ 234 h 783"/>
                    <a:gd name="T22" fmla="*/ 503 w 834"/>
                    <a:gd name="T23" fmla="*/ 54 h 783"/>
                    <a:gd name="T24" fmla="*/ 505 w 834"/>
                    <a:gd name="T25" fmla="*/ 87 h 783"/>
                    <a:gd name="T26" fmla="*/ 537 w 834"/>
                    <a:gd name="T27" fmla="*/ 122 h 783"/>
                    <a:gd name="T28" fmla="*/ 584 w 834"/>
                    <a:gd name="T29" fmla="*/ 118 h 783"/>
                    <a:gd name="T30" fmla="*/ 610 w 834"/>
                    <a:gd name="T31" fmla="*/ 95 h 783"/>
                    <a:gd name="T32" fmla="*/ 690 w 834"/>
                    <a:gd name="T33" fmla="*/ 90 h 783"/>
                    <a:gd name="T34" fmla="*/ 792 w 834"/>
                    <a:gd name="T35" fmla="*/ 283 h 783"/>
                    <a:gd name="T36" fmla="*/ 769 w 834"/>
                    <a:gd name="T37" fmla="*/ 300 h 783"/>
                    <a:gd name="T38" fmla="*/ 740 w 834"/>
                    <a:gd name="T39" fmla="*/ 327 h 783"/>
                    <a:gd name="T40" fmla="*/ 736 w 834"/>
                    <a:gd name="T41" fmla="*/ 378 h 783"/>
                    <a:gd name="T42" fmla="*/ 773 w 834"/>
                    <a:gd name="T43" fmla="*/ 399 h 783"/>
                    <a:gd name="T44" fmla="*/ 807 w 834"/>
                    <a:gd name="T45" fmla="*/ 419 h 783"/>
                    <a:gd name="T46" fmla="*/ 834 w 834"/>
                    <a:gd name="T47" fmla="*/ 493 h 783"/>
                    <a:gd name="T48" fmla="*/ 682 w 834"/>
                    <a:gd name="T49" fmla="*/ 646 h 783"/>
                    <a:gd name="T50" fmla="*/ 656 w 834"/>
                    <a:gd name="T51" fmla="*/ 632 h 783"/>
                    <a:gd name="T52" fmla="*/ 622 w 834"/>
                    <a:gd name="T53" fmla="*/ 613 h 783"/>
                    <a:gd name="T54" fmla="*/ 587 w 834"/>
                    <a:gd name="T55" fmla="*/ 650 h 783"/>
                    <a:gd name="T56" fmla="*/ 591 w 834"/>
                    <a:gd name="T57" fmla="*/ 695 h 783"/>
                    <a:gd name="T58" fmla="*/ 592 w 834"/>
                    <a:gd name="T59" fmla="*/ 718 h 783"/>
                    <a:gd name="T60" fmla="*/ 334 w 834"/>
                    <a:gd name="T61" fmla="*/ 732 h 783"/>
                    <a:gd name="T62" fmla="*/ 332 w 834"/>
                    <a:gd name="T63" fmla="*/ 709 h 783"/>
                    <a:gd name="T64" fmla="*/ 327 w 834"/>
                    <a:gd name="T65" fmla="*/ 669 h 783"/>
                    <a:gd name="T66" fmla="*/ 268 w 834"/>
                    <a:gd name="T67" fmla="*/ 659 h 783"/>
                    <a:gd name="T68" fmla="*/ 238 w 834"/>
                    <a:gd name="T69" fmla="*/ 685 h 783"/>
                    <a:gd name="T70" fmla="*/ 222 w 834"/>
                    <a:gd name="T71" fmla="*/ 700 h 783"/>
                    <a:gd name="T72" fmla="*/ 218 w 834"/>
                    <a:gd name="T73" fmla="*/ 701 h 783"/>
                    <a:gd name="T74" fmla="*/ 212 w 834"/>
                    <a:gd name="T75" fmla="*/ 704 h 783"/>
                    <a:gd name="T76" fmla="*/ 186 w 834"/>
                    <a:gd name="T77" fmla="*/ 703 h 783"/>
                    <a:gd name="T78" fmla="*/ 152 w 834"/>
                    <a:gd name="T79" fmla="*/ 700 h 783"/>
                    <a:gd name="T80" fmla="*/ 46 w 834"/>
                    <a:gd name="T81" fmla="*/ 508 h 783"/>
                    <a:gd name="T82" fmla="*/ 61 w 834"/>
                    <a:gd name="T83" fmla="*/ 496 h 783"/>
                    <a:gd name="T84" fmla="*/ 88 w 834"/>
                    <a:gd name="T85" fmla="*/ 473 h 783"/>
                    <a:gd name="T86" fmla="*/ 100 w 834"/>
                    <a:gd name="T87" fmla="*/ 433 h 783"/>
                    <a:gd name="T88" fmla="*/ 75 w 834"/>
                    <a:gd name="T89" fmla="*/ 398 h 783"/>
                    <a:gd name="T90" fmla="*/ 38 w 834"/>
                    <a:gd name="T91" fmla="*/ 382 h 783"/>
                    <a:gd name="T92" fmla="*/ 21 w 834"/>
                    <a:gd name="T93" fmla="*/ 373 h 783"/>
                    <a:gd name="T94" fmla="*/ 68 w 834"/>
                    <a:gd name="T95" fmla="*/ 161 h 783"/>
                    <a:gd name="T96" fmla="*/ 148 w 834"/>
                    <a:gd name="T97" fmla="*/ 147 h 783"/>
                    <a:gd name="T98" fmla="*/ 182 w 834"/>
                    <a:gd name="T99" fmla="*/ 162 h 783"/>
                    <a:gd name="T100" fmla="*/ 226 w 834"/>
                    <a:gd name="T101" fmla="*/ 158 h 783"/>
                    <a:gd name="T102" fmla="*/ 246 w 834"/>
                    <a:gd name="T103" fmla="*/ 116 h 783"/>
                    <a:gd name="T104" fmla="*/ 243 w 834"/>
                    <a:gd name="T105" fmla="*/ 75 h 783"/>
                    <a:gd name="T106" fmla="*/ 293 w 834"/>
                    <a:gd name="T107" fmla="*/ 13 h 7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34" h="783">
                      <a:moveTo>
                        <a:pt x="408" y="234"/>
                      </a:moveTo>
                      <a:lnTo>
                        <a:pt x="376" y="237"/>
                      </a:lnTo>
                      <a:lnTo>
                        <a:pt x="346" y="246"/>
                      </a:lnTo>
                      <a:lnTo>
                        <a:pt x="319" y="261"/>
                      </a:lnTo>
                      <a:lnTo>
                        <a:pt x="295" y="280"/>
                      </a:lnTo>
                      <a:lnTo>
                        <a:pt x="276" y="304"/>
                      </a:lnTo>
                      <a:lnTo>
                        <a:pt x="261" y="330"/>
                      </a:lnTo>
                      <a:lnTo>
                        <a:pt x="252" y="360"/>
                      </a:lnTo>
                      <a:lnTo>
                        <a:pt x="249" y="391"/>
                      </a:lnTo>
                      <a:lnTo>
                        <a:pt x="252" y="423"/>
                      </a:lnTo>
                      <a:lnTo>
                        <a:pt x="261" y="453"/>
                      </a:lnTo>
                      <a:lnTo>
                        <a:pt x="276" y="480"/>
                      </a:lnTo>
                      <a:lnTo>
                        <a:pt x="295" y="503"/>
                      </a:lnTo>
                      <a:lnTo>
                        <a:pt x="319" y="523"/>
                      </a:lnTo>
                      <a:lnTo>
                        <a:pt x="346" y="537"/>
                      </a:lnTo>
                      <a:lnTo>
                        <a:pt x="376" y="547"/>
                      </a:lnTo>
                      <a:lnTo>
                        <a:pt x="408" y="549"/>
                      </a:lnTo>
                      <a:lnTo>
                        <a:pt x="440" y="547"/>
                      </a:lnTo>
                      <a:lnTo>
                        <a:pt x="470" y="537"/>
                      </a:lnTo>
                      <a:lnTo>
                        <a:pt x="497" y="523"/>
                      </a:lnTo>
                      <a:lnTo>
                        <a:pt x="521" y="503"/>
                      </a:lnTo>
                      <a:lnTo>
                        <a:pt x="541" y="480"/>
                      </a:lnTo>
                      <a:lnTo>
                        <a:pt x="555" y="453"/>
                      </a:lnTo>
                      <a:lnTo>
                        <a:pt x="565" y="423"/>
                      </a:lnTo>
                      <a:lnTo>
                        <a:pt x="567" y="391"/>
                      </a:lnTo>
                      <a:lnTo>
                        <a:pt x="565" y="360"/>
                      </a:lnTo>
                      <a:lnTo>
                        <a:pt x="555" y="330"/>
                      </a:lnTo>
                      <a:lnTo>
                        <a:pt x="541" y="304"/>
                      </a:lnTo>
                      <a:lnTo>
                        <a:pt x="521" y="280"/>
                      </a:lnTo>
                      <a:lnTo>
                        <a:pt x="497" y="261"/>
                      </a:lnTo>
                      <a:lnTo>
                        <a:pt x="470" y="246"/>
                      </a:lnTo>
                      <a:lnTo>
                        <a:pt x="440" y="237"/>
                      </a:lnTo>
                      <a:lnTo>
                        <a:pt x="408" y="234"/>
                      </a:lnTo>
                      <a:close/>
                      <a:moveTo>
                        <a:pt x="451" y="0"/>
                      </a:moveTo>
                      <a:lnTo>
                        <a:pt x="503" y="51"/>
                      </a:lnTo>
                      <a:lnTo>
                        <a:pt x="503" y="54"/>
                      </a:lnTo>
                      <a:lnTo>
                        <a:pt x="503" y="63"/>
                      </a:lnTo>
                      <a:lnTo>
                        <a:pt x="504" y="74"/>
                      </a:lnTo>
                      <a:lnTo>
                        <a:pt x="505" y="87"/>
                      </a:lnTo>
                      <a:lnTo>
                        <a:pt x="506" y="100"/>
                      </a:lnTo>
                      <a:lnTo>
                        <a:pt x="507" y="112"/>
                      </a:lnTo>
                      <a:lnTo>
                        <a:pt x="537" y="122"/>
                      </a:lnTo>
                      <a:lnTo>
                        <a:pt x="566" y="134"/>
                      </a:lnTo>
                      <a:lnTo>
                        <a:pt x="575" y="126"/>
                      </a:lnTo>
                      <a:lnTo>
                        <a:pt x="584" y="118"/>
                      </a:lnTo>
                      <a:lnTo>
                        <a:pt x="594" y="110"/>
                      </a:lnTo>
                      <a:lnTo>
                        <a:pt x="602" y="102"/>
                      </a:lnTo>
                      <a:lnTo>
                        <a:pt x="610" y="95"/>
                      </a:lnTo>
                      <a:lnTo>
                        <a:pt x="616" y="91"/>
                      </a:lnTo>
                      <a:lnTo>
                        <a:pt x="618" y="90"/>
                      </a:lnTo>
                      <a:lnTo>
                        <a:pt x="690" y="90"/>
                      </a:lnTo>
                      <a:lnTo>
                        <a:pt x="794" y="209"/>
                      </a:lnTo>
                      <a:lnTo>
                        <a:pt x="794" y="281"/>
                      </a:lnTo>
                      <a:lnTo>
                        <a:pt x="792" y="283"/>
                      </a:lnTo>
                      <a:lnTo>
                        <a:pt x="786" y="286"/>
                      </a:lnTo>
                      <a:lnTo>
                        <a:pt x="779" y="293"/>
                      </a:lnTo>
                      <a:lnTo>
                        <a:pt x="769" y="300"/>
                      </a:lnTo>
                      <a:lnTo>
                        <a:pt x="759" y="309"/>
                      </a:lnTo>
                      <a:lnTo>
                        <a:pt x="750" y="318"/>
                      </a:lnTo>
                      <a:lnTo>
                        <a:pt x="740" y="327"/>
                      </a:lnTo>
                      <a:lnTo>
                        <a:pt x="731" y="334"/>
                      </a:lnTo>
                      <a:lnTo>
                        <a:pt x="734" y="356"/>
                      </a:lnTo>
                      <a:lnTo>
                        <a:pt x="736" y="378"/>
                      </a:lnTo>
                      <a:lnTo>
                        <a:pt x="747" y="385"/>
                      </a:lnTo>
                      <a:lnTo>
                        <a:pt x="759" y="393"/>
                      </a:lnTo>
                      <a:lnTo>
                        <a:pt x="773" y="399"/>
                      </a:lnTo>
                      <a:lnTo>
                        <a:pt x="786" y="407"/>
                      </a:lnTo>
                      <a:lnTo>
                        <a:pt x="797" y="413"/>
                      </a:lnTo>
                      <a:lnTo>
                        <a:pt x="807" y="419"/>
                      </a:lnTo>
                      <a:lnTo>
                        <a:pt x="813" y="423"/>
                      </a:lnTo>
                      <a:lnTo>
                        <a:pt x="816" y="424"/>
                      </a:lnTo>
                      <a:lnTo>
                        <a:pt x="834" y="493"/>
                      </a:lnTo>
                      <a:lnTo>
                        <a:pt x="754" y="629"/>
                      </a:lnTo>
                      <a:lnTo>
                        <a:pt x="684" y="648"/>
                      </a:lnTo>
                      <a:lnTo>
                        <a:pt x="682" y="646"/>
                      </a:lnTo>
                      <a:lnTo>
                        <a:pt x="675" y="643"/>
                      </a:lnTo>
                      <a:lnTo>
                        <a:pt x="667" y="637"/>
                      </a:lnTo>
                      <a:lnTo>
                        <a:pt x="656" y="632"/>
                      </a:lnTo>
                      <a:lnTo>
                        <a:pt x="643" y="625"/>
                      </a:lnTo>
                      <a:lnTo>
                        <a:pt x="632" y="618"/>
                      </a:lnTo>
                      <a:lnTo>
                        <a:pt x="622" y="613"/>
                      </a:lnTo>
                      <a:lnTo>
                        <a:pt x="605" y="625"/>
                      </a:lnTo>
                      <a:lnTo>
                        <a:pt x="586" y="637"/>
                      </a:lnTo>
                      <a:lnTo>
                        <a:pt x="587" y="650"/>
                      </a:lnTo>
                      <a:lnTo>
                        <a:pt x="588" y="664"/>
                      </a:lnTo>
                      <a:lnTo>
                        <a:pt x="589" y="680"/>
                      </a:lnTo>
                      <a:lnTo>
                        <a:pt x="591" y="695"/>
                      </a:lnTo>
                      <a:lnTo>
                        <a:pt x="592" y="707"/>
                      </a:lnTo>
                      <a:lnTo>
                        <a:pt x="592" y="715"/>
                      </a:lnTo>
                      <a:lnTo>
                        <a:pt x="592" y="718"/>
                      </a:lnTo>
                      <a:lnTo>
                        <a:pt x="542" y="769"/>
                      </a:lnTo>
                      <a:lnTo>
                        <a:pt x="385" y="783"/>
                      </a:lnTo>
                      <a:lnTo>
                        <a:pt x="334" y="732"/>
                      </a:lnTo>
                      <a:lnTo>
                        <a:pt x="333" y="729"/>
                      </a:lnTo>
                      <a:lnTo>
                        <a:pt x="333" y="721"/>
                      </a:lnTo>
                      <a:lnTo>
                        <a:pt x="332" y="709"/>
                      </a:lnTo>
                      <a:lnTo>
                        <a:pt x="329" y="695"/>
                      </a:lnTo>
                      <a:lnTo>
                        <a:pt x="328" y="681"/>
                      </a:lnTo>
                      <a:lnTo>
                        <a:pt x="327" y="669"/>
                      </a:lnTo>
                      <a:lnTo>
                        <a:pt x="302" y="661"/>
                      </a:lnTo>
                      <a:lnTo>
                        <a:pt x="278" y="651"/>
                      </a:lnTo>
                      <a:lnTo>
                        <a:pt x="268" y="659"/>
                      </a:lnTo>
                      <a:lnTo>
                        <a:pt x="259" y="668"/>
                      </a:lnTo>
                      <a:lnTo>
                        <a:pt x="247" y="677"/>
                      </a:lnTo>
                      <a:lnTo>
                        <a:pt x="238" y="685"/>
                      </a:lnTo>
                      <a:lnTo>
                        <a:pt x="230" y="693"/>
                      </a:lnTo>
                      <a:lnTo>
                        <a:pt x="224" y="697"/>
                      </a:lnTo>
                      <a:lnTo>
                        <a:pt x="222" y="700"/>
                      </a:lnTo>
                      <a:lnTo>
                        <a:pt x="221" y="700"/>
                      </a:lnTo>
                      <a:lnTo>
                        <a:pt x="220" y="701"/>
                      </a:lnTo>
                      <a:lnTo>
                        <a:pt x="218" y="701"/>
                      </a:lnTo>
                      <a:lnTo>
                        <a:pt x="217" y="702"/>
                      </a:lnTo>
                      <a:lnTo>
                        <a:pt x="214" y="703"/>
                      </a:lnTo>
                      <a:lnTo>
                        <a:pt x="212" y="704"/>
                      </a:lnTo>
                      <a:lnTo>
                        <a:pt x="208" y="704"/>
                      </a:lnTo>
                      <a:lnTo>
                        <a:pt x="198" y="704"/>
                      </a:lnTo>
                      <a:lnTo>
                        <a:pt x="186" y="703"/>
                      </a:lnTo>
                      <a:lnTo>
                        <a:pt x="173" y="702"/>
                      </a:lnTo>
                      <a:lnTo>
                        <a:pt x="161" y="701"/>
                      </a:lnTo>
                      <a:lnTo>
                        <a:pt x="152" y="700"/>
                      </a:lnTo>
                      <a:lnTo>
                        <a:pt x="149" y="700"/>
                      </a:lnTo>
                      <a:lnTo>
                        <a:pt x="46" y="579"/>
                      </a:lnTo>
                      <a:lnTo>
                        <a:pt x="46" y="508"/>
                      </a:lnTo>
                      <a:lnTo>
                        <a:pt x="48" y="505"/>
                      </a:lnTo>
                      <a:lnTo>
                        <a:pt x="53" y="502"/>
                      </a:lnTo>
                      <a:lnTo>
                        <a:pt x="61" y="496"/>
                      </a:lnTo>
                      <a:lnTo>
                        <a:pt x="69" y="489"/>
                      </a:lnTo>
                      <a:lnTo>
                        <a:pt x="78" y="480"/>
                      </a:lnTo>
                      <a:lnTo>
                        <a:pt x="88" y="473"/>
                      </a:lnTo>
                      <a:lnTo>
                        <a:pt x="98" y="465"/>
                      </a:lnTo>
                      <a:lnTo>
                        <a:pt x="106" y="457"/>
                      </a:lnTo>
                      <a:lnTo>
                        <a:pt x="100" y="433"/>
                      </a:lnTo>
                      <a:lnTo>
                        <a:pt x="98" y="408"/>
                      </a:lnTo>
                      <a:lnTo>
                        <a:pt x="87" y="404"/>
                      </a:lnTo>
                      <a:lnTo>
                        <a:pt x="75" y="398"/>
                      </a:lnTo>
                      <a:lnTo>
                        <a:pt x="62" y="393"/>
                      </a:lnTo>
                      <a:lnTo>
                        <a:pt x="50" y="386"/>
                      </a:lnTo>
                      <a:lnTo>
                        <a:pt x="38" y="382"/>
                      </a:lnTo>
                      <a:lnTo>
                        <a:pt x="29" y="377"/>
                      </a:lnTo>
                      <a:lnTo>
                        <a:pt x="23" y="374"/>
                      </a:lnTo>
                      <a:lnTo>
                        <a:pt x="21" y="373"/>
                      </a:lnTo>
                      <a:lnTo>
                        <a:pt x="0" y="314"/>
                      </a:lnTo>
                      <a:lnTo>
                        <a:pt x="2" y="304"/>
                      </a:lnTo>
                      <a:lnTo>
                        <a:pt x="68" y="161"/>
                      </a:lnTo>
                      <a:lnTo>
                        <a:pt x="138" y="143"/>
                      </a:lnTo>
                      <a:lnTo>
                        <a:pt x="141" y="144"/>
                      </a:lnTo>
                      <a:lnTo>
                        <a:pt x="148" y="147"/>
                      </a:lnTo>
                      <a:lnTo>
                        <a:pt x="158" y="151"/>
                      </a:lnTo>
                      <a:lnTo>
                        <a:pt x="169" y="157"/>
                      </a:lnTo>
                      <a:lnTo>
                        <a:pt x="182" y="162"/>
                      </a:lnTo>
                      <a:lnTo>
                        <a:pt x="194" y="168"/>
                      </a:lnTo>
                      <a:lnTo>
                        <a:pt x="205" y="173"/>
                      </a:lnTo>
                      <a:lnTo>
                        <a:pt x="226" y="158"/>
                      </a:lnTo>
                      <a:lnTo>
                        <a:pt x="249" y="144"/>
                      </a:lnTo>
                      <a:lnTo>
                        <a:pt x="247" y="131"/>
                      </a:lnTo>
                      <a:lnTo>
                        <a:pt x="246" y="116"/>
                      </a:lnTo>
                      <a:lnTo>
                        <a:pt x="245" y="101"/>
                      </a:lnTo>
                      <a:lnTo>
                        <a:pt x="244" y="87"/>
                      </a:lnTo>
                      <a:lnTo>
                        <a:pt x="243" y="75"/>
                      </a:lnTo>
                      <a:lnTo>
                        <a:pt x="242" y="67"/>
                      </a:lnTo>
                      <a:lnTo>
                        <a:pt x="242" y="64"/>
                      </a:lnTo>
                      <a:lnTo>
                        <a:pt x="293" y="13"/>
                      </a:lnTo>
                      <a:lnTo>
                        <a:pt x="45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178"/>
                <p:cNvSpPr>
                  <a:spLocks noEditPoints="1"/>
                </p:cNvSpPr>
                <p:nvPr/>
              </p:nvSpPr>
              <p:spPr bwMode="auto">
                <a:xfrm>
                  <a:off x="-709" y="4029"/>
                  <a:ext cx="105" cy="99"/>
                </a:xfrm>
                <a:custGeom>
                  <a:avLst/>
                  <a:gdLst>
                    <a:gd name="T0" fmla="*/ 256 w 631"/>
                    <a:gd name="T1" fmla="*/ 188 h 592"/>
                    <a:gd name="T2" fmla="*/ 201 w 631"/>
                    <a:gd name="T3" fmla="*/ 243 h 592"/>
                    <a:gd name="T4" fmla="*/ 192 w 631"/>
                    <a:gd name="T5" fmla="*/ 323 h 592"/>
                    <a:gd name="T6" fmla="*/ 234 w 631"/>
                    <a:gd name="T7" fmla="*/ 389 h 592"/>
                    <a:gd name="T8" fmla="*/ 309 w 631"/>
                    <a:gd name="T9" fmla="*/ 415 h 592"/>
                    <a:gd name="T10" fmla="*/ 384 w 631"/>
                    <a:gd name="T11" fmla="*/ 389 h 592"/>
                    <a:gd name="T12" fmla="*/ 426 w 631"/>
                    <a:gd name="T13" fmla="*/ 323 h 592"/>
                    <a:gd name="T14" fmla="*/ 418 w 631"/>
                    <a:gd name="T15" fmla="*/ 243 h 592"/>
                    <a:gd name="T16" fmla="*/ 362 w 631"/>
                    <a:gd name="T17" fmla="*/ 188 h 592"/>
                    <a:gd name="T18" fmla="*/ 341 w 631"/>
                    <a:gd name="T19" fmla="*/ 0 h 592"/>
                    <a:gd name="T20" fmla="*/ 381 w 631"/>
                    <a:gd name="T21" fmla="*/ 50 h 592"/>
                    <a:gd name="T22" fmla="*/ 384 w 631"/>
                    <a:gd name="T23" fmla="*/ 84 h 592"/>
                    <a:gd name="T24" fmla="*/ 435 w 631"/>
                    <a:gd name="T25" fmla="*/ 94 h 592"/>
                    <a:gd name="T26" fmla="*/ 460 w 631"/>
                    <a:gd name="T27" fmla="*/ 73 h 592"/>
                    <a:gd name="T28" fmla="*/ 521 w 631"/>
                    <a:gd name="T29" fmla="*/ 68 h 592"/>
                    <a:gd name="T30" fmla="*/ 599 w 631"/>
                    <a:gd name="T31" fmla="*/ 213 h 592"/>
                    <a:gd name="T32" fmla="*/ 578 w 631"/>
                    <a:gd name="T33" fmla="*/ 231 h 592"/>
                    <a:gd name="T34" fmla="*/ 552 w 631"/>
                    <a:gd name="T35" fmla="*/ 252 h 592"/>
                    <a:gd name="T36" fmla="*/ 567 w 631"/>
                    <a:gd name="T37" fmla="*/ 291 h 592"/>
                    <a:gd name="T38" fmla="*/ 599 w 631"/>
                    <a:gd name="T39" fmla="*/ 310 h 592"/>
                    <a:gd name="T40" fmla="*/ 617 w 631"/>
                    <a:gd name="T41" fmla="*/ 320 h 592"/>
                    <a:gd name="T42" fmla="*/ 517 w 631"/>
                    <a:gd name="T43" fmla="*/ 490 h 592"/>
                    <a:gd name="T44" fmla="*/ 500 w 631"/>
                    <a:gd name="T45" fmla="*/ 479 h 592"/>
                    <a:gd name="T46" fmla="*/ 472 w 631"/>
                    <a:gd name="T47" fmla="*/ 462 h 592"/>
                    <a:gd name="T48" fmla="*/ 444 w 631"/>
                    <a:gd name="T49" fmla="*/ 493 h 592"/>
                    <a:gd name="T50" fmla="*/ 447 w 631"/>
                    <a:gd name="T51" fmla="*/ 531 h 592"/>
                    <a:gd name="T52" fmla="*/ 410 w 631"/>
                    <a:gd name="T53" fmla="*/ 581 h 592"/>
                    <a:gd name="T54" fmla="*/ 252 w 631"/>
                    <a:gd name="T55" fmla="*/ 550 h 592"/>
                    <a:gd name="T56" fmla="*/ 248 w 631"/>
                    <a:gd name="T57" fmla="*/ 517 h 592"/>
                    <a:gd name="T58" fmla="*/ 211 w 631"/>
                    <a:gd name="T59" fmla="*/ 492 h 592"/>
                    <a:gd name="T60" fmla="*/ 184 w 631"/>
                    <a:gd name="T61" fmla="*/ 515 h 592"/>
                    <a:gd name="T62" fmla="*/ 168 w 631"/>
                    <a:gd name="T63" fmla="*/ 528 h 592"/>
                    <a:gd name="T64" fmla="*/ 164 w 631"/>
                    <a:gd name="T65" fmla="*/ 530 h 592"/>
                    <a:gd name="T66" fmla="*/ 157 w 631"/>
                    <a:gd name="T67" fmla="*/ 533 h 592"/>
                    <a:gd name="T68" fmla="*/ 124 w 631"/>
                    <a:gd name="T69" fmla="*/ 529 h 592"/>
                    <a:gd name="T70" fmla="*/ 36 w 631"/>
                    <a:gd name="T71" fmla="*/ 437 h 592"/>
                    <a:gd name="T72" fmla="*/ 42 w 631"/>
                    <a:gd name="T73" fmla="*/ 378 h 592"/>
                    <a:gd name="T74" fmla="*/ 65 w 631"/>
                    <a:gd name="T75" fmla="*/ 358 h 592"/>
                    <a:gd name="T76" fmla="*/ 77 w 631"/>
                    <a:gd name="T77" fmla="*/ 327 h 592"/>
                    <a:gd name="T78" fmla="*/ 55 w 631"/>
                    <a:gd name="T79" fmla="*/ 299 h 592"/>
                    <a:gd name="T80" fmla="*/ 24 w 631"/>
                    <a:gd name="T81" fmla="*/ 286 h 592"/>
                    <a:gd name="T82" fmla="*/ 0 w 631"/>
                    <a:gd name="T83" fmla="*/ 236 h 592"/>
                    <a:gd name="T84" fmla="*/ 105 w 631"/>
                    <a:gd name="T85" fmla="*/ 107 h 592"/>
                    <a:gd name="T86" fmla="*/ 123 w 631"/>
                    <a:gd name="T87" fmla="*/ 116 h 592"/>
                    <a:gd name="T88" fmla="*/ 155 w 631"/>
                    <a:gd name="T89" fmla="*/ 130 h 592"/>
                    <a:gd name="T90" fmla="*/ 188 w 631"/>
                    <a:gd name="T91" fmla="*/ 96 h 592"/>
                    <a:gd name="T92" fmla="*/ 184 w 631"/>
                    <a:gd name="T93" fmla="*/ 59 h 592"/>
                    <a:gd name="T94" fmla="*/ 222 w 631"/>
                    <a:gd name="T95" fmla="*/ 10 h 5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31" h="592">
                      <a:moveTo>
                        <a:pt x="309" y="176"/>
                      </a:moveTo>
                      <a:lnTo>
                        <a:pt x="282" y="179"/>
                      </a:lnTo>
                      <a:lnTo>
                        <a:pt x="256" y="188"/>
                      </a:lnTo>
                      <a:lnTo>
                        <a:pt x="234" y="203"/>
                      </a:lnTo>
                      <a:lnTo>
                        <a:pt x="215" y="221"/>
                      </a:lnTo>
                      <a:lnTo>
                        <a:pt x="201" y="243"/>
                      </a:lnTo>
                      <a:lnTo>
                        <a:pt x="192" y="268"/>
                      </a:lnTo>
                      <a:lnTo>
                        <a:pt x="189" y="296"/>
                      </a:lnTo>
                      <a:lnTo>
                        <a:pt x="192" y="323"/>
                      </a:lnTo>
                      <a:lnTo>
                        <a:pt x="201" y="348"/>
                      </a:lnTo>
                      <a:lnTo>
                        <a:pt x="215" y="370"/>
                      </a:lnTo>
                      <a:lnTo>
                        <a:pt x="234" y="389"/>
                      </a:lnTo>
                      <a:lnTo>
                        <a:pt x="256" y="403"/>
                      </a:lnTo>
                      <a:lnTo>
                        <a:pt x="282" y="412"/>
                      </a:lnTo>
                      <a:lnTo>
                        <a:pt x="309" y="415"/>
                      </a:lnTo>
                      <a:lnTo>
                        <a:pt x="337" y="412"/>
                      </a:lnTo>
                      <a:lnTo>
                        <a:pt x="362" y="403"/>
                      </a:lnTo>
                      <a:lnTo>
                        <a:pt x="384" y="389"/>
                      </a:lnTo>
                      <a:lnTo>
                        <a:pt x="403" y="370"/>
                      </a:lnTo>
                      <a:lnTo>
                        <a:pt x="418" y="348"/>
                      </a:lnTo>
                      <a:lnTo>
                        <a:pt x="426" y="323"/>
                      </a:lnTo>
                      <a:lnTo>
                        <a:pt x="430" y="296"/>
                      </a:lnTo>
                      <a:lnTo>
                        <a:pt x="426" y="268"/>
                      </a:lnTo>
                      <a:lnTo>
                        <a:pt x="418" y="243"/>
                      </a:lnTo>
                      <a:lnTo>
                        <a:pt x="403" y="221"/>
                      </a:lnTo>
                      <a:lnTo>
                        <a:pt x="384" y="203"/>
                      </a:lnTo>
                      <a:lnTo>
                        <a:pt x="362" y="188"/>
                      </a:lnTo>
                      <a:lnTo>
                        <a:pt x="337" y="179"/>
                      </a:lnTo>
                      <a:lnTo>
                        <a:pt x="309" y="176"/>
                      </a:lnTo>
                      <a:close/>
                      <a:moveTo>
                        <a:pt x="341" y="0"/>
                      </a:moveTo>
                      <a:lnTo>
                        <a:pt x="380" y="38"/>
                      </a:lnTo>
                      <a:lnTo>
                        <a:pt x="381" y="41"/>
                      </a:lnTo>
                      <a:lnTo>
                        <a:pt x="381" y="50"/>
                      </a:lnTo>
                      <a:lnTo>
                        <a:pt x="382" y="61"/>
                      </a:lnTo>
                      <a:lnTo>
                        <a:pt x="383" y="73"/>
                      </a:lnTo>
                      <a:lnTo>
                        <a:pt x="384" y="84"/>
                      </a:lnTo>
                      <a:lnTo>
                        <a:pt x="406" y="92"/>
                      </a:lnTo>
                      <a:lnTo>
                        <a:pt x="429" y="101"/>
                      </a:lnTo>
                      <a:lnTo>
                        <a:pt x="435" y="94"/>
                      </a:lnTo>
                      <a:lnTo>
                        <a:pt x="444" y="87"/>
                      </a:lnTo>
                      <a:lnTo>
                        <a:pt x="453" y="80"/>
                      </a:lnTo>
                      <a:lnTo>
                        <a:pt x="460" y="73"/>
                      </a:lnTo>
                      <a:lnTo>
                        <a:pt x="465" y="69"/>
                      </a:lnTo>
                      <a:lnTo>
                        <a:pt x="467" y="68"/>
                      </a:lnTo>
                      <a:lnTo>
                        <a:pt x="521" y="68"/>
                      </a:lnTo>
                      <a:lnTo>
                        <a:pt x="600" y="158"/>
                      </a:lnTo>
                      <a:lnTo>
                        <a:pt x="600" y="212"/>
                      </a:lnTo>
                      <a:lnTo>
                        <a:pt x="599" y="213"/>
                      </a:lnTo>
                      <a:lnTo>
                        <a:pt x="593" y="218"/>
                      </a:lnTo>
                      <a:lnTo>
                        <a:pt x="587" y="223"/>
                      </a:lnTo>
                      <a:lnTo>
                        <a:pt x="578" y="231"/>
                      </a:lnTo>
                      <a:lnTo>
                        <a:pt x="569" y="239"/>
                      </a:lnTo>
                      <a:lnTo>
                        <a:pt x="560" y="245"/>
                      </a:lnTo>
                      <a:lnTo>
                        <a:pt x="552" y="252"/>
                      </a:lnTo>
                      <a:lnTo>
                        <a:pt x="556" y="268"/>
                      </a:lnTo>
                      <a:lnTo>
                        <a:pt x="557" y="286"/>
                      </a:lnTo>
                      <a:lnTo>
                        <a:pt x="567" y="291"/>
                      </a:lnTo>
                      <a:lnTo>
                        <a:pt x="578" y="298"/>
                      </a:lnTo>
                      <a:lnTo>
                        <a:pt x="589" y="304"/>
                      </a:lnTo>
                      <a:lnTo>
                        <a:pt x="599" y="310"/>
                      </a:lnTo>
                      <a:lnTo>
                        <a:pt x="609" y="315"/>
                      </a:lnTo>
                      <a:lnTo>
                        <a:pt x="614" y="319"/>
                      </a:lnTo>
                      <a:lnTo>
                        <a:pt x="617" y="320"/>
                      </a:lnTo>
                      <a:lnTo>
                        <a:pt x="631" y="372"/>
                      </a:lnTo>
                      <a:lnTo>
                        <a:pt x="570" y="476"/>
                      </a:lnTo>
                      <a:lnTo>
                        <a:pt x="517" y="490"/>
                      </a:lnTo>
                      <a:lnTo>
                        <a:pt x="515" y="488"/>
                      </a:lnTo>
                      <a:lnTo>
                        <a:pt x="509" y="484"/>
                      </a:lnTo>
                      <a:lnTo>
                        <a:pt x="500" y="479"/>
                      </a:lnTo>
                      <a:lnTo>
                        <a:pt x="491" y="473"/>
                      </a:lnTo>
                      <a:lnTo>
                        <a:pt x="479" y="468"/>
                      </a:lnTo>
                      <a:lnTo>
                        <a:pt x="472" y="462"/>
                      </a:lnTo>
                      <a:lnTo>
                        <a:pt x="457" y="472"/>
                      </a:lnTo>
                      <a:lnTo>
                        <a:pt x="443" y="481"/>
                      </a:lnTo>
                      <a:lnTo>
                        <a:pt x="444" y="493"/>
                      </a:lnTo>
                      <a:lnTo>
                        <a:pt x="445" y="506"/>
                      </a:lnTo>
                      <a:lnTo>
                        <a:pt x="446" y="519"/>
                      </a:lnTo>
                      <a:lnTo>
                        <a:pt x="447" y="531"/>
                      </a:lnTo>
                      <a:lnTo>
                        <a:pt x="448" y="539"/>
                      </a:lnTo>
                      <a:lnTo>
                        <a:pt x="448" y="542"/>
                      </a:lnTo>
                      <a:lnTo>
                        <a:pt x="410" y="581"/>
                      </a:lnTo>
                      <a:lnTo>
                        <a:pt x="290" y="592"/>
                      </a:lnTo>
                      <a:lnTo>
                        <a:pt x="253" y="553"/>
                      </a:lnTo>
                      <a:lnTo>
                        <a:pt x="252" y="550"/>
                      </a:lnTo>
                      <a:lnTo>
                        <a:pt x="252" y="541"/>
                      </a:lnTo>
                      <a:lnTo>
                        <a:pt x="251" y="529"/>
                      </a:lnTo>
                      <a:lnTo>
                        <a:pt x="248" y="517"/>
                      </a:lnTo>
                      <a:lnTo>
                        <a:pt x="247" y="506"/>
                      </a:lnTo>
                      <a:lnTo>
                        <a:pt x="228" y="500"/>
                      </a:lnTo>
                      <a:lnTo>
                        <a:pt x="211" y="492"/>
                      </a:lnTo>
                      <a:lnTo>
                        <a:pt x="202" y="499"/>
                      </a:lnTo>
                      <a:lnTo>
                        <a:pt x="193" y="507"/>
                      </a:lnTo>
                      <a:lnTo>
                        <a:pt x="184" y="515"/>
                      </a:lnTo>
                      <a:lnTo>
                        <a:pt x="175" y="522"/>
                      </a:lnTo>
                      <a:lnTo>
                        <a:pt x="170" y="526"/>
                      </a:lnTo>
                      <a:lnTo>
                        <a:pt x="168" y="528"/>
                      </a:lnTo>
                      <a:lnTo>
                        <a:pt x="168" y="528"/>
                      </a:lnTo>
                      <a:lnTo>
                        <a:pt x="167" y="529"/>
                      </a:lnTo>
                      <a:lnTo>
                        <a:pt x="164" y="530"/>
                      </a:lnTo>
                      <a:lnTo>
                        <a:pt x="162" y="531"/>
                      </a:lnTo>
                      <a:lnTo>
                        <a:pt x="161" y="533"/>
                      </a:lnTo>
                      <a:lnTo>
                        <a:pt x="157" y="533"/>
                      </a:lnTo>
                      <a:lnTo>
                        <a:pt x="148" y="531"/>
                      </a:lnTo>
                      <a:lnTo>
                        <a:pt x="136" y="530"/>
                      </a:lnTo>
                      <a:lnTo>
                        <a:pt x="124" y="529"/>
                      </a:lnTo>
                      <a:lnTo>
                        <a:pt x="117" y="528"/>
                      </a:lnTo>
                      <a:lnTo>
                        <a:pt x="113" y="528"/>
                      </a:lnTo>
                      <a:lnTo>
                        <a:pt x="36" y="437"/>
                      </a:lnTo>
                      <a:lnTo>
                        <a:pt x="36" y="383"/>
                      </a:lnTo>
                      <a:lnTo>
                        <a:pt x="37" y="381"/>
                      </a:lnTo>
                      <a:lnTo>
                        <a:pt x="42" y="378"/>
                      </a:lnTo>
                      <a:lnTo>
                        <a:pt x="48" y="372"/>
                      </a:lnTo>
                      <a:lnTo>
                        <a:pt x="57" y="366"/>
                      </a:lnTo>
                      <a:lnTo>
                        <a:pt x="65" y="358"/>
                      </a:lnTo>
                      <a:lnTo>
                        <a:pt x="74" y="352"/>
                      </a:lnTo>
                      <a:lnTo>
                        <a:pt x="80" y="346"/>
                      </a:lnTo>
                      <a:lnTo>
                        <a:pt x="77" y="327"/>
                      </a:lnTo>
                      <a:lnTo>
                        <a:pt x="75" y="308"/>
                      </a:lnTo>
                      <a:lnTo>
                        <a:pt x="65" y="304"/>
                      </a:lnTo>
                      <a:lnTo>
                        <a:pt x="55" y="299"/>
                      </a:lnTo>
                      <a:lnTo>
                        <a:pt x="44" y="295"/>
                      </a:lnTo>
                      <a:lnTo>
                        <a:pt x="33" y="289"/>
                      </a:lnTo>
                      <a:lnTo>
                        <a:pt x="24" y="286"/>
                      </a:lnTo>
                      <a:lnTo>
                        <a:pt x="18" y="283"/>
                      </a:lnTo>
                      <a:lnTo>
                        <a:pt x="16" y="281"/>
                      </a:lnTo>
                      <a:lnTo>
                        <a:pt x="0" y="236"/>
                      </a:lnTo>
                      <a:lnTo>
                        <a:pt x="2" y="229"/>
                      </a:lnTo>
                      <a:lnTo>
                        <a:pt x="52" y="121"/>
                      </a:lnTo>
                      <a:lnTo>
                        <a:pt x="105" y="107"/>
                      </a:lnTo>
                      <a:lnTo>
                        <a:pt x="108" y="108"/>
                      </a:lnTo>
                      <a:lnTo>
                        <a:pt x="115" y="112"/>
                      </a:lnTo>
                      <a:lnTo>
                        <a:pt x="123" y="116"/>
                      </a:lnTo>
                      <a:lnTo>
                        <a:pt x="134" y="121"/>
                      </a:lnTo>
                      <a:lnTo>
                        <a:pt x="146" y="126"/>
                      </a:lnTo>
                      <a:lnTo>
                        <a:pt x="155" y="130"/>
                      </a:lnTo>
                      <a:lnTo>
                        <a:pt x="171" y="118"/>
                      </a:lnTo>
                      <a:lnTo>
                        <a:pt x="189" y="108"/>
                      </a:lnTo>
                      <a:lnTo>
                        <a:pt x="188" y="96"/>
                      </a:lnTo>
                      <a:lnTo>
                        <a:pt x="186" y="83"/>
                      </a:lnTo>
                      <a:lnTo>
                        <a:pt x="185" y="70"/>
                      </a:lnTo>
                      <a:lnTo>
                        <a:pt x="184" y="59"/>
                      </a:lnTo>
                      <a:lnTo>
                        <a:pt x="184" y="51"/>
                      </a:lnTo>
                      <a:lnTo>
                        <a:pt x="183" y="48"/>
                      </a:lnTo>
                      <a:lnTo>
                        <a:pt x="222" y="10"/>
                      </a:lnTo>
                      <a:lnTo>
                        <a:pt x="34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7" name="Freeform 179"/>
                <p:cNvSpPr>
                  <a:spLocks/>
                </p:cNvSpPr>
                <p:nvPr/>
              </p:nvSpPr>
              <p:spPr bwMode="auto">
                <a:xfrm>
                  <a:off x="-720" y="3871"/>
                  <a:ext cx="285" cy="33"/>
                </a:xfrm>
                <a:custGeom>
                  <a:avLst/>
                  <a:gdLst>
                    <a:gd name="T0" fmla="*/ 95 w 1709"/>
                    <a:gd name="T1" fmla="*/ 0 h 195"/>
                    <a:gd name="T2" fmla="*/ 1615 w 1709"/>
                    <a:gd name="T3" fmla="*/ 0 h 195"/>
                    <a:gd name="T4" fmla="*/ 1638 w 1709"/>
                    <a:gd name="T5" fmla="*/ 3 h 195"/>
                    <a:gd name="T6" fmla="*/ 1658 w 1709"/>
                    <a:gd name="T7" fmla="*/ 10 h 195"/>
                    <a:gd name="T8" fmla="*/ 1676 w 1709"/>
                    <a:gd name="T9" fmla="*/ 20 h 195"/>
                    <a:gd name="T10" fmla="*/ 1689 w 1709"/>
                    <a:gd name="T11" fmla="*/ 34 h 195"/>
                    <a:gd name="T12" fmla="*/ 1699 w 1709"/>
                    <a:gd name="T13" fmla="*/ 51 h 195"/>
                    <a:gd name="T14" fmla="*/ 1705 w 1709"/>
                    <a:gd name="T15" fmla="*/ 69 h 195"/>
                    <a:gd name="T16" fmla="*/ 1709 w 1709"/>
                    <a:gd name="T17" fmla="*/ 88 h 195"/>
                    <a:gd name="T18" fmla="*/ 1709 w 1709"/>
                    <a:gd name="T19" fmla="*/ 108 h 195"/>
                    <a:gd name="T20" fmla="*/ 1705 w 1709"/>
                    <a:gd name="T21" fmla="*/ 126 h 195"/>
                    <a:gd name="T22" fmla="*/ 1699 w 1709"/>
                    <a:gd name="T23" fmla="*/ 145 h 195"/>
                    <a:gd name="T24" fmla="*/ 1689 w 1709"/>
                    <a:gd name="T25" fmla="*/ 161 h 195"/>
                    <a:gd name="T26" fmla="*/ 1676 w 1709"/>
                    <a:gd name="T27" fmla="*/ 176 h 195"/>
                    <a:gd name="T28" fmla="*/ 1658 w 1709"/>
                    <a:gd name="T29" fmla="*/ 187 h 195"/>
                    <a:gd name="T30" fmla="*/ 1638 w 1709"/>
                    <a:gd name="T31" fmla="*/ 193 h 195"/>
                    <a:gd name="T32" fmla="*/ 1615 w 1709"/>
                    <a:gd name="T33" fmla="*/ 195 h 195"/>
                    <a:gd name="T34" fmla="*/ 95 w 1709"/>
                    <a:gd name="T35" fmla="*/ 195 h 195"/>
                    <a:gd name="T36" fmla="*/ 71 w 1709"/>
                    <a:gd name="T37" fmla="*/ 193 h 195"/>
                    <a:gd name="T38" fmla="*/ 51 w 1709"/>
                    <a:gd name="T39" fmla="*/ 187 h 195"/>
                    <a:gd name="T40" fmla="*/ 35 w 1709"/>
                    <a:gd name="T41" fmla="*/ 176 h 195"/>
                    <a:gd name="T42" fmla="*/ 20 w 1709"/>
                    <a:gd name="T43" fmla="*/ 161 h 195"/>
                    <a:gd name="T44" fmla="*/ 10 w 1709"/>
                    <a:gd name="T45" fmla="*/ 145 h 195"/>
                    <a:gd name="T46" fmla="*/ 4 w 1709"/>
                    <a:gd name="T47" fmla="*/ 126 h 195"/>
                    <a:gd name="T48" fmla="*/ 0 w 1709"/>
                    <a:gd name="T49" fmla="*/ 108 h 195"/>
                    <a:gd name="T50" fmla="*/ 0 w 1709"/>
                    <a:gd name="T51" fmla="*/ 88 h 195"/>
                    <a:gd name="T52" fmla="*/ 4 w 1709"/>
                    <a:gd name="T53" fmla="*/ 69 h 195"/>
                    <a:gd name="T54" fmla="*/ 10 w 1709"/>
                    <a:gd name="T55" fmla="*/ 51 h 195"/>
                    <a:gd name="T56" fmla="*/ 20 w 1709"/>
                    <a:gd name="T57" fmla="*/ 34 h 195"/>
                    <a:gd name="T58" fmla="*/ 35 w 1709"/>
                    <a:gd name="T59" fmla="*/ 20 h 195"/>
                    <a:gd name="T60" fmla="*/ 51 w 1709"/>
                    <a:gd name="T61" fmla="*/ 10 h 195"/>
                    <a:gd name="T62" fmla="*/ 71 w 1709"/>
                    <a:gd name="T63" fmla="*/ 3 h 195"/>
                    <a:gd name="T64" fmla="*/ 95 w 1709"/>
                    <a:gd name="T65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9" h="195">
                      <a:moveTo>
                        <a:pt x="95" y="0"/>
                      </a:moveTo>
                      <a:lnTo>
                        <a:pt x="1615" y="0"/>
                      </a:lnTo>
                      <a:lnTo>
                        <a:pt x="1638" y="3"/>
                      </a:lnTo>
                      <a:lnTo>
                        <a:pt x="1658" y="10"/>
                      </a:lnTo>
                      <a:lnTo>
                        <a:pt x="1676" y="20"/>
                      </a:lnTo>
                      <a:lnTo>
                        <a:pt x="1689" y="34"/>
                      </a:lnTo>
                      <a:lnTo>
                        <a:pt x="1699" y="51"/>
                      </a:lnTo>
                      <a:lnTo>
                        <a:pt x="1705" y="69"/>
                      </a:lnTo>
                      <a:lnTo>
                        <a:pt x="1709" y="88"/>
                      </a:lnTo>
                      <a:lnTo>
                        <a:pt x="1709" y="108"/>
                      </a:lnTo>
                      <a:lnTo>
                        <a:pt x="1705" y="126"/>
                      </a:lnTo>
                      <a:lnTo>
                        <a:pt x="1699" y="145"/>
                      </a:lnTo>
                      <a:lnTo>
                        <a:pt x="1689" y="161"/>
                      </a:lnTo>
                      <a:lnTo>
                        <a:pt x="1676" y="176"/>
                      </a:lnTo>
                      <a:lnTo>
                        <a:pt x="1658" y="187"/>
                      </a:lnTo>
                      <a:lnTo>
                        <a:pt x="1638" y="193"/>
                      </a:lnTo>
                      <a:lnTo>
                        <a:pt x="1615" y="195"/>
                      </a:lnTo>
                      <a:lnTo>
                        <a:pt x="95" y="195"/>
                      </a:lnTo>
                      <a:lnTo>
                        <a:pt x="71" y="193"/>
                      </a:lnTo>
                      <a:lnTo>
                        <a:pt x="51" y="187"/>
                      </a:lnTo>
                      <a:lnTo>
                        <a:pt x="35" y="176"/>
                      </a:lnTo>
                      <a:lnTo>
                        <a:pt x="20" y="161"/>
                      </a:lnTo>
                      <a:lnTo>
                        <a:pt x="10" y="145"/>
                      </a:lnTo>
                      <a:lnTo>
                        <a:pt x="4" y="126"/>
                      </a:lnTo>
                      <a:lnTo>
                        <a:pt x="0" y="108"/>
                      </a:lnTo>
                      <a:lnTo>
                        <a:pt x="0" y="88"/>
                      </a:lnTo>
                      <a:lnTo>
                        <a:pt x="4" y="69"/>
                      </a:lnTo>
                      <a:lnTo>
                        <a:pt x="10" y="51"/>
                      </a:lnTo>
                      <a:lnTo>
                        <a:pt x="20" y="34"/>
                      </a:lnTo>
                      <a:lnTo>
                        <a:pt x="35" y="20"/>
                      </a:lnTo>
                      <a:lnTo>
                        <a:pt x="51" y="10"/>
                      </a:lnTo>
                      <a:lnTo>
                        <a:pt x="71" y="3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80"/>
                <p:cNvSpPr>
                  <a:spLocks/>
                </p:cNvSpPr>
                <p:nvPr/>
              </p:nvSpPr>
              <p:spPr bwMode="auto">
                <a:xfrm>
                  <a:off x="-589" y="3948"/>
                  <a:ext cx="154" cy="33"/>
                </a:xfrm>
                <a:custGeom>
                  <a:avLst/>
                  <a:gdLst>
                    <a:gd name="T0" fmla="*/ 95 w 920"/>
                    <a:gd name="T1" fmla="*/ 0 h 195"/>
                    <a:gd name="T2" fmla="*/ 826 w 920"/>
                    <a:gd name="T3" fmla="*/ 0 h 195"/>
                    <a:gd name="T4" fmla="*/ 849 w 920"/>
                    <a:gd name="T5" fmla="*/ 2 h 195"/>
                    <a:gd name="T6" fmla="*/ 869 w 920"/>
                    <a:gd name="T7" fmla="*/ 10 h 195"/>
                    <a:gd name="T8" fmla="*/ 887 w 920"/>
                    <a:gd name="T9" fmla="*/ 21 h 195"/>
                    <a:gd name="T10" fmla="*/ 900 w 920"/>
                    <a:gd name="T11" fmla="*/ 34 h 195"/>
                    <a:gd name="T12" fmla="*/ 910 w 920"/>
                    <a:gd name="T13" fmla="*/ 50 h 195"/>
                    <a:gd name="T14" fmla="*/ 916 w 920"/>
                    <a:gd name="T15" fmla="*/ 69 h 195"/>
                    <a:gd name="T16" fmla="*/ 920 w 920"/>
                    <a:gd name="T17" fmla="*/ 88 h 195"/>
                    <a:gd name="T18" fmla="*/ 920 w 920"/>
                    <a:gd name="T19" fmla="*/ 107 h 195"/>
                    <a:gd name="T20" fmla="*/ 916 w 920"/>
                    <a:gd name="T21" fmla="*/ 127 h 195"/>
                    <a:gd name="T22" fmla="*/ 910 w 920"/>
                    <a:gd name="T23" fmla="*/ 145 h 195"/>
                    <a:gd name="T24" fmla="*/ 900 w 920"/>
                    <a:gd name="T25" fmla="*/ 161 h 195"/>
                    <a:gd name="T26" fmla="*/ 887 w 920"/>
                    <a:gd name="T27" fmla="*/ 175 h 195"/>
                    <a:gd name="T28" fmla="*/ 869 w 920"/>
                    <a:gd name="T29" fmla="*/ 186 h 195"/>
                    <a:gd name="T30" fmla="*/ 849 w 920"/>
                    <a:gd name="T31" fmla="*/ 193 h 195"/>
                    <a:gd name="T32" fmla="*/ 826 w 920"/>
                    <a:gd name="T33" fmla="*/ 195 h 195"/>
                    <a:gd name="T34" fmla="*/ 95 w 920"/>
                    <a:gd name="T35" fmla="*/ 195 h 195"/>
                    <a:gd name="T36" fmla="*/ 72 w 920"/>
                    <a:gd name="T37" fmla="*/ 193 h 195"/>
                    <a:gd name="T38" fmla="*/ 51 w 920"/>
                    <a:gd name="T39" fmla="*/ 186 h 195"/>
                    <a:gd name="T40" fmla="*/ 34 w 920"/>
                    <a:gd name="T41" fmla="*/ 175 h 195"/>
                    <a:gd name="T42" fmla="*/ 21 w 920"/>
                    <a:gd name="T43" fmla="*/ 161 h 195"/>
                    <a:gd name="T44" fmla="*/ 10 w 920"/>
                    <a:gd name="T45" fmla="*/ 145 h 195"/>
                    <a:gd name="T46" fmla="*/ 3 w 920"/>
                    <a:gd name="T47" fmla="*/ 127 h 195"/>
                    <a:gd name="T48" fmla="*/ 0 w 920"/>
                    <a:gd name="T49" fmla="*/ 107 h 195"/>
                    <a:gd name="T50" fmla="*/ 0 w 920"/>
                    <a:gd name="T51" fmla="*/ 88 h 195"/>
                    <a:gd name="T52" fmla="*/ 3 w 920"/>
                    <a:gd name="T53" fmla="*/ 69 h 195"/>
                    <a:gd name="T54" fmla="*/ 10 w 920"/>
                    <a:gd name="T55" fmla="*/ 50 h 195"/>
                    <a:gd name="T56" fmla="*/ 21 w 920"/>
                    <a:gd name="T57" fmla="*/ 34 h 195"/>
                    <a:gd name="T58" fmla="*/ 34 w 920"/>
                    <a:gd name="T59" fmla="*/ 21 h 195"/>
                    <a:gd name="T60" fmla="*/ 51 w 920"/>
                    <a:gd name="T61" fmla="*/ 10 h 195"/>
                    <a:gd name="T62" fmla="*/ 72 w 920"/>
                    <a:gd name="T63" fmla="*/ 2 h 195"/>
                    <a:gd name="T64" fmla="*/ 95 w 920"/>
                    <a:gd name="T65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20" h="195">
                      <a:moveTo>
                        <a:pt x="95" y="0"/>
                      </a:moveTo>
                      <a:lnTo>
                        <a:pt x="826" y="0"/>
                      </a:lnTo>
                      <a:lnTo>
                        <a:pt x="849" y="2"/>
                      </a:lnTo>
                      <a:lnTo>
                        <a:pt x="869" y="10"/>
                      </a:lnTo>
                      <a:lnTo>
                        <a:pt x="887" y="21"/>
                      </a:lnTo>
                      <a:lnTo>
                        <a:pt x="900" y="34"/>
                      </a:lnTo>
                      <a:lnTo>
                        <a:pt x="910" y="50"/>
                      </a:lnTo>
                      <a:lnTo>
                        <a:pt x="916" y="69"/>
                      </a:lnTo>
                      <a:lnTo>
                        <a:pt x="920" y="88"/>
                      </a:lnTo>
                      <a:lnTo>
                        <a:pt x="920" y="107"/>
                      </a:lnTo>
                      <a:lnTo>
                        <a:pt x="916" y="127"/>
                      </a:lnTo>
                      <a:lnTo>
                        <a:pt x="910" y="145"/>
                      </a:lnTo>
                      <a:lnTo>
                        <a:pt x="900" y="161"/>
                      </a:lnTo>
                      <a:lnTo>
                        <a:pt x="887" y="175"/>
                      </a:lnTo>
                      <a:lnTo>
                        <a:pt x="869" y="186"/>
                      </a:lnTo>
                      <a:lnTo>
                        <a:pt x="849" y="193"/>
                      </a:lnTo>
                      <a:lnTo>
                        <a:pt x="826" y="195"/>
                      </a:lnTo>
                      <a:lnTo>
                        <a:pt x="95" y="195"/>
                      </a:lnTo>
                      <a:lnTo>
                        <a:pt x="72" y="193"/>
                      </a:lnTo>
                      <a:lnTo>
                        <a:pt x="51" y="186"/>
                      </a:lnTo>
                      <a:lnTo>
                        <a:pt x="34" y="175"/>
                      </a:lnTo>
                      <a:lnTo>
                        <a:pt x="21" y="161"/>
                      </a:lnTo>
                      <a:lnTo>
                        <a:pt x="10" y="145"/>
                      </a:lnTo>
                      <a:lnTo>
                        <a:pt x="3" y="127"/>
                      </a:lnTo>
                      <a:lnTo>
                        <a:pt x="0" y="107"/>
                      </a:lnTo>
                      <a:lnTo>
                        <a:pt x="0" y="88"/>
                      </a:lnTo>
                      <a:lnTo>
                        <a:pt x="3" y="69"/>
                      </a:lnTo>
                      <a:lnTo>
                        <a:pt x="10" y="50"/>
                      </a:lnTo>
                      <a:lnTo>
                        <a:pt x="21" y="34"/>
                      </a:lnTo>
                      <a:lnTo>
                        <a:pt x="34" y="21"/>
                      </a:lnTo>
                      <a:lnTo>
                        <a:pt x="51" y="10"/>
                      </a:lnTo>
                      <a:lnTo>
                        <a:pt x="72" y="2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181"/>
                <p:cNvSpPr>
                  <a:spLocks/>
                </p:cNvSpPr>
                <p:nvPr/>
              </p:nvSpPr>
              <p:spPr bwMode="auto">
                <a:xfrm>
                  <a:off x="-825" y="3791"/>
                  <a:ext cx="461" cy="246"/>
                </a:xfrm>
                <a:custGeom>
                  <a:avLst/>
                  <a:gdLst>
                    <a:gd name="T0" fmla="*/ 0 w 2765"/>
                    <a:gd name="T1" fmla="*/ 0 h 1476"/>
                    <a:gd name="T2" fmla="*/ 2765 w 2765"/>
                    <a:gd name="T3" fmla="*/ 0 h 1476"/>
                    <a:gd name="T4" fmla="*/ 2765 w 2765"/>
                    <a:gd name="T5" fmla="*/ 1476 h 1476"/>
                    <a:gd name="T6" fmla="*/ 2529 w 2765"/>
                    <a:gd name="T7" fmla="*/ 1476 h 1476"/>
                    <a:gd name="T8" fmla="*/ 2529 w 2765"/>
                    <a:gd name="T9" fmla="*/ 235 h 1476"/>
                    <a:gd name="T10" fmla="*/ 237 w 2765"/>
                    <a:gd name="T11" fmla="*/ 235 h 1476"/>
                    <a:gd name="T12" fmla="*/ 237 w 2765"/>
                    <a:gd name="T13" fmla="*/ 765 h 1476"/>
                    <a:gd name="T14" fmla="*/ 0 w 2765"/>
                    <a:gd name="T15" fmla="*/ 765 h 1476"/>
                    <a:gd name="T16" fmla="*/ 0 w 2765"/>
                    <a:gd name="T17" fmla="*/ 0 h 1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5" h="1476">
                      <a:moveTo>
                        <a:pt x="0" y="0"/>
                      </a:moveTo>
                      <a:lnTo>
                        <a:pt x="2765" y="0"/>
                      </a:lnTo>
                      <a:lnTo>
                        <a:pt x="2765" y="1476"/>
                      </a:lnTo>
                      <a:lnTo>
                        <a:pt x="2529" y="1476"/>
                      </a:lnTo>
                      <a:lnTo>
                        <a:pt x="2529" y="235"/>
                      </a:lnTo>
                      <a:lnTo>
                        <a:pt x="237" y="235"/>
                      </a:lnTo>
                      <a:lnTo>
                        <a:pt x="237" y="765"/>
                      </a:lnTo>
                      <a:lnTo>
                        <a:pt x="0" y="76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82"/>
                <p:cNvSpPr>
                  <a:spLocks noEditPoints="1"/>
                </p:cNvSpPr>
                <p:nvPr/>
              </p:nvSpPr>
              <p:spPr bwMode="auto">
                <a:xfrm>
                  <a:off x="-635" y="4151"/>
                  <a:ext cx="227" cy="215"/>
                </a:xfrm>
                <a:custGeom>
                  <a:avLst/>
                  <a:gdLst>
                    <a:gd name="T0" fmla="*/ 601 w 1364"/>
                    <a:gd name="T1" fmla="*/ 392 h 1287"/>
                    <a:gd name="T2" fmla="*/ 503 w 1364"/>
                    <a:gd name="T3" fmla="*/ 441 h 1287"/>
                    <a:gd name="T4" fmla="*/ 434 w 1364"/>
                    <a:gd name="T5" fmla="*/ 526 h 1287"/>
                    <a:gd name="T6" fmla="*/ 406 w 1364"/>
                    <a:gd name="T7" fmla="*/ 635 h 1287"/>
                    <a:gd name="T8" fmla="*/ 427 w 1364"/>
                    <a:gd name="T9" fmla="*/ 746 h 1287"/>
                    <a:gd name="T10" fmla="*/ 490 w 1364"/>
                    <a:gd name="T11" fmla="*/ 834 h 1287"/>
                    <a:gd name="T12" fmla="*/ 585 w 1364"/>
                    <a:gd name="T13" fmla="*/ 890 h 1287"/>
                    <a:gd name="T14" fmla="*/ 700 w 1364"/>
                    <a:gd name="T15" fmla="*/ 902 h 1287"/>
                    <a:gd name="T16" fmla="*/ 805 w 1364"/>
                    <a:gd name="T17" fmla="*/ 866 h 1287"/>
                    <a:gd name="T18" fmla="*/ 884 w 1364"/>
                    <a:gd name="T19" fmla="*/ 793 h 1287"/>
                    <a:gd name="T20" fmla="*/ 928 w 1364"/>
                    <a:gd name="T21" fmla="*/ 691 h 1287"/>
                    <a:gd name="T22" fmla="*/ 923 w 1364"/>
                    <a:gd name="T23" fmla="*/ 576 h 1287"/>
                    <a:gd name="T24" fmla="*/ 873 w 1364"/>
                    <a:gd name="T25" fmla="*/ 478 h 1287"/>
                    <a:gd name="T26" fmla="*/ 787 w 1364"/>
                    <a:gd name="T27" fmla="*/ 410 h 1287"/>
                    <a:gd name="T28" fmla="*/ 678 w 1364"/>
                    <a:gd name="T29" fmla="*/ 383 h 1287"/>
                    <a:gd name="T30" fmla="*/ 842 w 1364"/>
                    <a:gd name="T31" fmla="*/ 90 h 1287"/>
                    <a:gd name="T32" fmla="*/ 845 w 1364"/>
                    <a:gd name="T33" fmla="*/ 133 h 1287"/>
                    <a:gd name="T34" fmla="*/ 848 w 1364"/>
                    <a:gd name="T35" fmla="*/ 187 h 1287"/>
                    <a:gd name="T36" fmla="*/ 954 w 1364"/>
                    <a:gd name="T37" fmla="*/ 217 h 1287"/>
                    <a:gd name="T38" fmla="*/ 992 w 1364"/>
                    <a:gd name="T39" fmla="*/ 188 h 1287"/>
                    <a:gd name="T40" fmla="*/ 1023 w 1364"/>
                    <a:gd name="T41" fmla="*/ 162 h 1287"/>
                    <a:gd name="T42" fmla="*/ 1150 w 1364"/>
                    <a:gd name="T43" fmla="*/ 160 h 1287"/>
                    <a:gd name="T44" fmla="*/ 1308 w 1364"/>
                    <a:gd name="T45" fmla="*/ 483 h 1287"/>
                    <a:gd name="T46" fmla="*/ 1283 w 1364"/>
                    <a:gd name="T47" fmla="*/ 502 h 1287"/>
                    <a:gd name="T48" fmla="*/ 1242 w 1364"/>
                    <a:gd name="T49" fmla="*/ 534 h 1287"/>
                    <a:gd name="T50" fmla="*/ 1203 w 1364"/>
                    <a:gd name="T51" fmla="*/ 566 h 1287"/>
                    <a:gd name="T52" fmla="*/ 1224 w 1364"/>
                    <a:gd name="T53" fmla="*/ 648 h 1287"/>
                    <a:gd name="T54" fmla="*/ 1274 w 1364"/>
                    <a:gd name="T55" fmla="*/ 678 h 1287"/>
                    <a:gd name="T56" fmla="*/ 1319 w 1364"/>
                    <a:gd name="T57" fmla="*/ 706 h 1287"/>
                    <a:gd name="T58" fmla="*/ 1338 w 1364"/>
                    <a:gd name="T59" fmla="*/ 718 h 1287"/>
                    <a:gd name="T60" fmla="*/ 1110 w 1364"/>
                    <a:gd name="T61" fmla="*/ 1080 h 1287"/>
                    <a:gd name="T62" fmla="*/ 949 w 1364"/>
                    <a:gd name="T63" fmla="*/ 1057 h 1287"/>
                    <a:gd name="T64" fmla="*/ 952 w 1364"/>
                    <a:gd name="T65" fmla="*/ 1112 h 1287"/>
                    <a:gd name="T66" fmla="*/ 954 w 1364"/>
                    <a:gd name="T67" fmla="*/ 1167 h 1287"/>
                    <a:gd name="T68" fmla="*/ 956 w 1364"/>
                    <a:gd name="T69" fmla="*/ 1192 h 1287"/>
                    <a:gd name="T70" fmla="*/ 527 w 1364"/>
                    <a:gd name="T71" fmla="*/ 1202 h 1287"/>
                    <a:gd name="T72" fmla="*/ 525 w 1364"/>
                    <a:gd name="T73" fmla="*/ 1178 h 1287"/>
                    <a:gd name="T74" fmla="*/ 523 w 1364"/>
                    <a:gd name="T75" fmla="*/ 1127 h 1287"/>
                    <a:gd name="T76" fmla="*/ 480 w 1364"/>
                    <a:gd name="T77" fmla="*/ 1082 h 1287"/>
                    <a:gd name="T78" fmla="*/ 416 w 1364"/>
                    <a:gd name="T79" fmla="*/ 1084 h 1287"/>
                    <a:gd name="T80" fmla="*/ 375 w 1364"/>
                    <a:gd name="T81" fmla="*/ 1117 h 1287"/>
                    <a:gd name="T82" fmla="*/ 347 w 1364"/>
                    <a:gd name="T83" fmla="*/ 1138 h 1287"/>
                    <a:gd name="T84" fmla="*/ 324 w 1364"/>
                    <a:gd name="T85" fmla="*/ 1148 h 1287"/>
                    <a:gd name="T86" fmla="*/ 284 w 1364"/>
                    <a:gd name="T87" fmla="*/ 1145 h 1287"/>
                    <a:gd name="T88" fmla="*/ 238 w 1364"/>
                    <a:gd name="T89" fmla="*/ 1138 h 1287"/>
                    <a:gd name="T90" fmla="*/ 63 w 1364"/>
                    <a:gd name="T91" fmla="*/ 933 h 1287"/>
                    <a:gd name="T92" fmla="*/ 74 w 1364"/>
                    <a:gd name="T93" fmla="*/ 809 h 1287"/>
                    <a:gd name="T94" fmla="*/ 105 w 1364"/>
                    <a:gd name="T95" fmla="*/ 785 h 1287"/>
                    <a:gd name="T96" fmla="*/ 144 w 1364"/>
                    <a:gd name="T97" fmla="*/ 754 h 1287"/>
                    <a:gd name="T98" fmla="*/ 160 w 1364"/>
                    <a:gd name="T99" fmla="*/ 696 h 1287"/>
                    <a:gd name="T100" fmla="*/ 127 w 1364"/>
                    <a:gd name="T101" fmla="*/ 640 h 1287"/>
                    <a:gd name="T102" fmla="*/ 78 w 1364"/>
                    <a:gd name="T103" fmla="*/ 616 h 1287"/>
                    <a:gd name="T104" fmla="*/ 40 w 1364"/>
                    <a:gd name="T105" fmla="*/ 598 h 1287"/>
                    <a:gd name="T106" fmla="*/ 0 w 1364"/>
                    <a:gd name="T107" fmla="*/ 494 h 1287"/>
                    <a:gd name="T108" fmla="*/ 238 w 1364"/>
                    <a:gd name="T109" fmla="*/ 218 h 1287"/>
                    <a:gd name="T110" fmla="*/ 258 w 1364"/>
                    <a:gd name="T111" fmla="*/ 228 h 1287"/>
                    <a:gd name="T112" fmla="*/ 302 w 1364"/>
                    <a:gd name="T113" fmla="*/ 250 h 1287"/>
                    <a:gd name="T114" fmla="*/ 346 w 1364"/>
                    <a:gd name="T115" fmla="*/ 272 h 1287"/>
                    <a:gd name="T116" fmla="*/ 419 w 1364"/>
                    <a:gd name="T117" fmla="*/ 207 h 1287"/>
                    <a:gd name="T118" fmla="*/ 416 w 1364"/>
                    <a:gd name="T119" fmla="*/ 143 h 1287"/>
                    <a:gd name="T120" fmla="*/ 413 w 1364"/>
                    <a:gd name="T121" fmla="*/ 98 h 1287"/>
                    <a:gd name="T122" fmla="*/ 761 w 1364"/>
                    <a:gd name="T123" fmla="*/ 0 h 1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64" h="1287">
                      <a:moveTo>
                        <a:pt x="678" y="383"/>
                      </a:moveTo>
                      <a:lnTo>
                        <a:pt x="639" y="384"/>
                      </a:lnTo>
                      <a:lnTo>
                        <a:pt x="601" y="392"/>
                      </a:lnTo>
                      <a:lnTo>
                        <a:pt x="566" y="404"/>
                      </a:lnTo>
                      <a:lnTo>
                        <a:pt x="533" y="420"/>
                      </a:lnTo>
                      <a:lnTo>
                        <a:pt x="503" y="441"/>
                      </a:lnTo>
                      <a:lnTo>
                        <a:pt x="476" y="466"/>
                      </a:lnTo>
                      <a:lnTo>
                        <a:pt x="453" y="495"/>
                      </a:lnTo>
                      <a:lnTo>
                        <a:pt x="434" y="526"/>
                      </a:lnTo>
                      <a:lnTo>
                        <a:pt x="419" y="560"/>
                      </a:lnTo>
                      <a:lnTo>
                        <a:pt x="410" y="597"/>
                      </a:lnTo>
                      <a:lnTo>
                        <a:pt x="406" y="635"/>
                      </a:lnTo>
                      <a:lnTo>
                        <a:pt x="408" y="673"/>
                      </a:lnTo>
                      <a:lnTo>
                        <a:pt x="415" y="711"/>
                      </a:lnTo>
                      <a:lnTo>
                        <a:pt x="427" y="746"/>
                      </a:lnTo>
                      <a:lnTo>
                        <a:pt x="443" y="779"/>
                      </a:lnTo>
                      <a:lnTo>
                        <a:pt x="465" y="808"/>
                      </a:lnTo>
                      <a:lnTo>
                        <a:pt x="490" y="834"/>
                      </a:lnTo>
                      <a:lnTo>
                        <a:pt x="518" y="858"/>
                      </a:lnTo>
                      <a:lnTo>
                        <a:pt x="551" y="876"/>
                      </a:lnTo>
                      <a:lnTo>
                        <a:pt x="585" y="890"/>
                      </a:lnTo>
                      <a:lnTo>
                        <a:pt x="621" y="900"/>
                      </a:lnTo>
                      <a:lnTo>
                        <a:pt x="661" y="904"/>
                      </a:lnTo>
                      <a:lnTo>
                        <a:pt x="700" y="902"/>
                      </a:lnTo>
                      <a:lnTo>
                        <a:pt x="737" y="896"/>
                      </a:lnTo>
                      <a:lnTo>
                        <a:pt x="772" y="884"/>
                      </a:lnTo>
                      <a:lnTo>
                        <a:pt x="805" y="866"/>
                      </a:lnTo>
                      <a:lnTo>
                        <a:pt x="835" y="845"/>
                      </a:lnTo>
                      <a:lnTo>
                        <a:pt x="862" y="821"/>
                      </a:lnTo>
                      <a:lnTo>
                        <a:pt x="884" y="793"/>
                      </a:lnTo>
                      <a:lnTo>
                        <a:pt x="904" y="761"/>
                      </a:lnTo>
                      <a:lnTo>
                        <a:pt x="919" y="727"/>
                      </a:lnTo>
                      <a:lnTo>
                        <a:pt x="928" y="691"/>
                      </a:lnTo>
                      <a:lnTo>
                        <a:pt x="932" y="652"/>
                      </a:lnTo>
                      <a:lnTo>
                        <a:pt x="931" y="613"/>
                      </a:lnTo>
                      <a:lnTo>
                        <a:pt x="923" y="576"/>
                      </a:lnTo>
                      <a:lnTo>
                        <a:pt x="911" y="541"/>
                      </a:lnTo>
                      <a:lnTo>
                        <a:pt x="894" y="509"/>
                      </a:lnTo>
                      <a:lnTo>
                        <a:pt x="873" y="478"/>
                      </a:lnTo>
                      <a:lnTo>
                        <a:pt x="848" y="452"/>
                      </a:lnTo>
                      <a:lnTo>
                        <a:pt x="819" y="429"/>
                      </a:lnTo>
                      <a:lnTo>
                        <a:pt x="787" y="410"/>
                      </a:lnTo>
                      <a:lnTo>
                        <a:pt x="753" y="396"/>
                      </a:lnTo>
                      <a:lnTo>
                        <a:pt x="716" y="387"/>
                      </a:lnTo>
                      <a:lnTo>
                        <a:pt x="678" y="383"/>
                      </a:lnTo>
                      <a:close/>
                      <a:moveTo>
                        <a:pt x="761" y="0"/>
                      </a:moveTo>
                      <a:lnTo>
                        <a:pt x="842" y="87"/>
                      </a:lnTo>
                      <a:lnTo>
                        <a:pt x="842" y="90"/>
                      </a:lnTo>
                      <a:lnTo>
                        <a:pt x="844" y="100"/>
                      </a:lnTo>
                      <a:lnTo>
                        <a:pt x="845" y="115"/>
                      </a:lnTo>
                      <a:lnTo>
                        <a:pt x="845" y="133"/>
                      </a:lnTo>
                      <a:lnTo>
                        <a:pt x="846" y="153"/>
                      </a:lnTo>
                      <a:lnTo>
                        <a:pt x="847" y="170"/>
                      </a:lnTo>
                      <a:lnTo>
                        <a:pt x="848" y="187"/>
                      </a:lnTo>
                      <a:lnTo>
                        <a:pt x="897" y="204"/>
                      </a:lnTo>
                      <a:lnTo>
                        <a:pt x="943" y="226"/>
                      </a:lnTo>
                      <a:lnTo>
                        <a:pt x="954" y="217"/>
                      </a:lnTo>
                      <a:lnTo>
                        <a:pt x="966" y="207"/>
                      </a:lnTo>
                      <a:lnTo>
                        <a:pt x="978" y="197"/>
                      </a:lnTo>
                      <a:lnTo>
                        <a:pt x="992" y="188"/>
                      </a:lnTo>
                      <a:lnTo>
                        <a:pt x="1004" y="178"/>
                      </a:lnTo>
                      <a:lnTo>
                        <a:pt x="1014" y="169"/>
                      </a:lnTo>
                      <a:lnTo>
                        <a:pt x="1023" y="162"/>
                      </a:lnTo>
                      <a:lnTo>
                        <a:pt x="1028" y="158"/>
                      </a:lnTo>
                      <a:lnTo>
                        <a:pt x="1030" y="157"/>
                      </a:lnTo>
                      <a:lnTo>
                        <a:pt x="1150" y="160"/>
                      </a:lnTo>
                      <a:lnTo>
                        <a:pt x="1314" y="362"/>
                      </a:lnTo>
                      <a:lnTo>
                        <a:pt x="1310" y="480"/>
                      </a:lnTo>
                      <a:lnTo>
                        <a:pt x="1308" y="483"/>
                      </a:lnTo>
                      <a:lnTo>
                        <a:pt x="1302" y="487"/>
                      </a:lnTo>
                      <a:lnTo>
                        <a:pt x="1294" y="494"/>
                      </a:lnTo>
                      <a:lnTo>
                        <a:pt x="1283" y="502"/>
                      </a:lnTo>
                      <a:lnTo>
                        <a:pt x="1269" y="512"/>
                      </a:lnTo>
                      <a:lnTo>
                        <a:pt x="1256" y="523"/>
                      </a:lnTo>
                      <a:lnTo>
                        <a:pt x="1242" y="534"/>
                      </a:lnTo>
                      <a:lnTo>
                        <a:pt x="1228" y="546"/>
                      </a:lnTo>
                      <a:lnTo>
                        <a:pt x="1215" y="556"/>
                      </a:lnTo>
                      <a:lnTo>
                        <a:pt x="1203" y="566"/>
                      </a:lnTo>
                      <a:lnTo>
                        <a:pt x="1208" y="602"/>
                      </a:lnTo>
                      <a:lnTo>
                        <a:pt x="1210" y="639"/>
                      </a:lnTo>
                      <a:lnTo>
                        <a:pt x="1224" y="648"/>
                      </a:lnTo>
                      <a:lnTo>
                        <a:pt x="1239" y="657"/>
                      </a:lnTo>
                      <a:lnTo>
                        <a:pt x="1256" y="668"/>
                      </a:lnTo>
                      <a:lnTo>
                        <a:pt x="1274" y="678"/>
                      </a:lnTo>
                      <a:lnTo>
                        <a:pt x="1290" y="689"/>
                      </a:lnTo>
                      <a:lnTo>
                        <a:pt x="1306" y="697"/>
                      </a:lnTo>
                      <a:lnTo>
                        <a:pt x="1319" y="706"/>
                      </a:lnTo>
                      <a:lnTo>
                        <a:pt x="1329" y="713"/>
                      </a:lnTo>
                      <a:lnTo>
                        <a:pt x="1336" y="716"/>
                      </a:lnTo>
                      <a:lnTo>
                        <a:pt x="1338" y="718"/>
                      </a:lnTo>
                      <a:lnTo>
                        <a:pt x="1364" y="833"/>
                      </a:lnTo>
                      <a:lnTo>
                        <a:pt x="1226" y="1054"/>
                      </a:lnTo>
                      <a:lnTo>
                        <a:pt x="1110" y="1080"/>
                      </a:lnTo>
                      <a:lnTo>
                        <a:pt x="1011" y="1019"/>
                      </a:lnTo>
                      <a:lnTo>
                        <a:pt x="981" y="1038"/>
                      </a:lnTo>
                      <a:lnTo>
                        <a:pt x="949" y="1057"/>
                      </a:lnTo>
                      <a:lnTo>
                        <a:pt x="950" y="1073"/>
                      </a:lnTo>
                      <a:lnTo>
                        <a:pt x="951" y="1092"/>
                      </a:lnTo>
                      <a:lnTo>
                        <a:pt x="952" y="1112"/>
                      </a:lnTo>
                      <a:lnTo>
                        <a:pt x="953" y="1132"/>
                      </a:lnTo>
                      <a:lnTo>
                        <a:pt x="954" y="1150"/>
                      </a:lnTo>
                      <a:lnTo>
                        <a:pt x="954" y="1167"/>
                      </a:lnTo>
                      <a:lnTo>
                        <a:pt x="955" y="1180"/>
                      </a:lnTo>
                      <a:lnTo>
                        <a:pt x="956" y="1189"/>
                      </a:lnTo>
                      <a:lnTo>
                        <a:pt x="956" y="1192"/>
                      </a:lnTo>
                      <a:lnTo>
                        <a:pt x="869" y="1272"/>
                      </a:lnTo>
                      <a:lnTo>
                        <a:pt x="609" y="1287"/>
                      </a:lnTo>
                      <a:lnTo>
                        <a:pt x="527" y="1202"/>
                      </a:lnTo>
                      <a:lnTo>
                        <a:pt x="526" y="1198"/>
                      </a:lnTo>
                      <a:lnTo>
                        <a:pt x="526" y="1190"/>
                      </a:lnTo>
                      <a:lnTo>
                        <a:pt x="525" y="1178"/>
                      </a:lnTo>
                      <a:lnTo>
                        <a:pt x="525" y="1162"/>
                      </a:lnTo>
                      <a:lnTo>
                        <a:pt x="524" y="1145"/>
                      </a:lnTo>
                      <a:lnTo>
                        <a:pt x="523" y="1127"/>
                      </a:lnTo>
                      <a:lnTo>
                        <a:pt x="522" y="1111"/>
                      </a:lnTo>
                      <a:lnTo>
                        <a:pt x="521" y="1097"/>
                      </a:lnTo>
                      <a:lnTo>
                        <a:pt x="480" y="1082"/>
                      </a:lnTo>
                      <a:lnTo>
                        <a:pt x="440" y="1066"/>
                      </a:lnTo>
                      <a:lnTo>
                        <a:pt x="429" y="1075"/>
                      </a:lnTo>
                      <a:lnTo>
                        <a:pt x="416" y="1084"/>
                      </a:lnTo>
                      <a:lnTo>
                        <a:pt x="401" y="1095"/>
                      </a:lnTo>
                      <a:lnTo>
                        <a:pt x="387" y="1106"/>
                      </a:lnTo>
                      <a:lnTo>
                        <a:pt x="375" y="1117"/>
                      </a:lnTo>
                      <a:lnTo>
                        <a:pt x="363" y="1126"/>
                      </a:lnTo>
                      <a:lnTo>
                        <a:pt x="354" y="1134"/>
                      </a:lnTo>
                      <a:lnTo>
                        <a:pt x="347" y="1138"/>
                      </a:lnTo>
                      <a:lnTo>
                        <a:pt x="345" y="1140"/>
                      </a:lnTo>
                      <a:lnTo>
                        <a:pt x="329" y="1148"/>
                      </a:lnTo>
                      <a:lnTo>
                        <a:pt x="324" y="1148"/>
                      </a:lnTo>
                      <a:lnTo>
                        <a:pt x="314" y="1148"/>
                      </a:lnTo>
                      <a:lnTo>
                        <a:pt x="300" y="1146"/>
                      </a:lnTo>
                      <a:lnTo>
                        <a:pt x="284" y="1145"/>
                      </a:lnTo>
                      <a:lnTo>
                        <a:pt x="267" y="1143"/>
                      </a:lnTo>
                      <a:lnTo>
                        <a:pt x="251" y="1140"/>
                      </a:lnTo>
                      <a:lnTo>
                        <a:pt x="238" y="1138"/>
                      </a:lnTo>
                      <a:lnTo>
                        <a:pt x="229" y="1137"/>
                      </a:lnTo>
                      <a:lnTo>
                        <a:pt x="225" y="1136"/>
                      </a:lnTo>
                      <a:lnTo>
                        <a:pt x="63" y="933"/>
                      </a:lnTo>
                      <a:lnTo>
                        <a:pt x="67" y="815"/>
                      </a:lnTo>
                      <a:lnTo>
                        <a:pt x="68" y="814"/>
                      </a:lnTo>
                      <a:lnTo>
                        <a:pt x="74" y="809"/>
                      </a:lnTo>
                      <a:lnTo>
                        <a:pt x="83" y="803"/>
                      </a:lnTo>
                      <a:lnTo>
                        <a:pt x="93" y="795"/>
                      </a:lnTo>
                      <a:lnTo>
                        <a:pt x="105" y="785"/>
                      </a:lnTo>
                      <a:lnTo>
                        <a:pt x="117" y="775"/>
                      </a:lnTo>
                      <a:lnTo>
                        <a:pt x="130" y="764"/>
                      </a:lnTo>
                      <a:lnTo>
                        <a:pt x="144" y="754"/>
                      </a:lnTo>
                      <a:lnTo>
                        <a:pt x="156" y="745"/>
                      </a:lnTo>
                      <a:lnTo>
                        <a:pt x="167" y="736"/>
                      </a:lnTo>
                      <a:lnTo>
                        <a:pt x="160" y="696"/>
                      </a:lnTo>
                      <a:lnTo>
                        <a:pt x="157" y="655"/>
                      </a:lnTo>
                      <a:lnTo>
                        <a:pt x="143" y="648"/>
                      </a:lnTo>
                      <a:lnTo>
                        <a:pt x="127" y="640"/>
                      </a:lnTo>
                      <a:lnTo>
                        <a:pt x="110" y="632"/>
                      </a:lnTo>
                      <a:lnTo>
                        <a:pt x="94" y="624"/>
                      </a:lnTo>
                      <a:lnTo>
                        <a:pt x="78" y="616"/>
                      </a:lnTo>
                      <a:lnTo>
                        <a:pt x="63" y="609"/>
                      </a:lnTo>
                      <a:lnTo>
                        <a:pt x="50" y="602"/>
                      </a:lnTo>
                      <a:lnTo>
                        <a:pt x="40" y="598"/>
                      </a:lnTo>
                      <a:lnTo>
                        <a:pt x="33" y="594"/>
                      </a:lnTo>
                      <a:lnTo>
                        <a:pt x="31" y="593"/>
                      </a:lnTo>
                      <a:lnTo>
                        <a:pt x="0" y="494"/>
                      </a:lnTo>
                      <a:lnTo>
                        <a:pt x="4" y="477"/>
                      </a:lnTo>
                      <a:lnTo>
                        <a:pt x="120" y="245"/>
                      </a:lnTo>
                      <a:lnTo>
                        <a:pt x="238" y="218"/>
                      </a:lnTo>
                      <a:lnTo>
                        <a:pt x="240" y="219"/>
                      </a:lnTo>
                      <a:lnTo>
                        <a:pt x="246" y="223"/>
                      </a:lnTo>
                      <a:lnTo>
                        <a:pt x="258" y="228"/>
                      </a:lnTo>
                      <a:lnTo>
                        <a:pt x="271" y="235"/>
                      </a:lnTo>
                      <a:lnTo>
                        <a:pt x="285" y="242"/>
                      </a:lnTo>
                      <a:lnTo>
                        <a:pt x="302" y="250"/>
                      </a:lnTo>
                      <a:lnTo>
                        <a:pt x="317" y="258"/>
                      </a:lnTo>
                      <a:lnTo>
                        <a:pt x="333" y="265"/>
                      </a:lnTo>
                      <a:lnTo>
                        <a:pt x="346" y="272"/>
                      </a:lnTo>
                      <a:lnTo>
                        <a:pt x="381" y="248"/>
                      </a:lnTo>
                      <a:lnTo>
                        <a:pt x="419" y="226"/>
                      </a:lnTo>
                      <a:lnTo>
                        <a:pt x="419" y="207"/>
                      </a:lnTo>
                      <a:lnTo>
                        <a:pt x="418" y="187"/>
                      </a:lnTo>
                      <a:lnTo>
                        <a:pt x="417" y="165"/>
                      </a:lnTo>
                      <a:lnTo>
                        <a:pt x="416" y="143"/>
                      </a:lnTo>
                      <a:lnTo>
                        <a:pt x="415" y="124"/>
                      </a:lnTo>
                      <a:lnTo>
                        <a:pt x="413" y="108"/>
                      </a:lnTo>
                      <a:lnTo>
                        <a:pt x="413" y="98"/>
                      </a:lnTo>
                      <a:lnTo>
                        <a:pt x="412" y="93"/>
                      </a:lnTo>
                      <a:lnTo>
                        <a:pt x="500" y="13"/>
                      </a:lnTo>
                      <a:lnTo>
                        <a:pt x="7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183"/>
                <p:cNvSpPr>
                  <a:spLocks/>
                </p:cNvSpPr>
                <p:nvPr/>
              </p:nvSpPr>
              <p:spPr bwMode="auto">
                <a:xfrm>
                  <a:off x="-593" y="4037"/>
                  <a:ext cx="245" cy="194"/>
                </a:xfrm>
                <a:custGeom>
                  <a:avLst/>
                  <a:gdLst>
                    <a:gd name="T0" fmla="*/ 907 w 1469"/>
                    <a:gd name="T1" fmla="*/ 93 h 1162"/>
                    <a:gd name="T2" fmla="*/ 907 w 1469"/>
                    <a:gd name="T3" fmla="*/ 105 h 1162"/>
                    <a:gd name="T4" fmla="*/ 909 w 1469"/>
                    <a:gd name="T5" fmla="*/ 134 h 1162"/>
                    <a:gd name="T6" fmla="*/ 910 w 1469"/>
                    <a:gd name="T7" fmla="*/ 169 h 1162"/>
                    <a:gd name="T8" fmla="*/ 913 w 1469"/>
                    <a:gd name="T9" fmla="*/ 201 h 1162"/>
                    <a:gd name="T10" fmla="*/ 1015 w 1469"/>
                    <a:gd name="T11" fmla="*/ 243 h 1162"/>
                    <a:gd name="T12" fmla="*/ 1040 w 1469"/>
                    <a:gd name="T13" fmla="*/ 224 h 1162"/>
                    <a:gd name="T14" fmla="*/ 1067 w 1469"/>
                    <a:gd name="T15" fmla="*/ 202 h 1162"/>
                    <a:gd name="T16" fmla="*/ 1092 w 1469"/>
                    <a:gd name="T17" fmla="*/ 182 h 1162"/>
                    <a:gd name="T18" fmla="*/ 1107 w 1469"/>
                    <a:gd name="T19" fmla="*/ 170 h 1162"/>
                    <a:gd name="T20" fmla="*/ 1238 w 1469"/>
                    <a:gd name="T21" fmla="*/ 172 h 1162"/>
                    <a:gd name="T22" fmla="*/ 1409 w 1469"/>
                    <a:gd name="T23" fmla="*/ 517 h 1162"/>
                    <a:gd name="T24" fmla="*/ 1401 w 1469"/>
                    <a:gd name="T25" fmla="*/ 524 h 1162"/>
                    <a:gd name="T26" fmla="*/ 1380 w 1469"/>
                    <a:gd name="T27" fmla="*/ 540 h 1162"/>
                    <a:gd name="T28" fmla="*/ 1352 w 1469"/>
                    <a:gd name="T29" fmla="*/ 563 h 1162"/>
                    <a:gd name="T30" fmla="*/ 1322 w 1469"/>
                    <a:gd name="T31" fmla="*/ 588 h 1162"/>
                    <a:gd name="T32" fmla="*/ 1295 w 1469"/>
                    <a:gd name="T33" fmla="*/ 608 h 1162"/>
                    <a:gd name="T34" fmla="*/ 1302 w 1469"/>
                    <a:gd name="T35" fmla="*/ 687 h 1162"/>
                    <a:gd name="T36" fmla="*/ 1331 w 1469"/>
                    <a:gd name="T37" fmla="*/ 705 h 1162"/>
                    <a:gd name="T38" fmla="*/ 1364 w 1469"/>
                    <a:gd name="T39" fmla="*/ 726 h 1162"/>
                    <a:gd name="T40" fmla="*/ 1396 w 1469"/>
                    <a:gd name="T41" fmla="*/ 745 h 1162"/>
                    <a:gd name="T42" fmla="*/ 1422 w 1469"/>
                    <a:gd name="T43" fmla="*/ 762 h 1162"/>
                    <a:gd name="T44" fmla="*/ 1438 w 1469"/>
                    <a:gd name="T45" fmla="*/ 771 h 1162"/>
                    <a:gd name="T46" fmla="*/ 1469 w 1469"/>
                    <a:gd name="T47" fmla="*/ 897 h 1162"/>
                    <a:gd name="T48" fmla="*/ 1195 w 1469"/>
                    <a:gd name="T49" fmla="*/ 1162 h 1162"/>
                    <a:gd name="T50" fmla="*/ 1186 w 1469"/>
                    <a:gd name="T51" fmla="*/ 1157 h 1162"/>
                    <a:gd name="T52" fmla="*/ 1165 w 1469"/>
                    <a:gd name="T53" fmla="*/ 1143 h 1162"/>
                    <a:gd name="T54" fmla="*/ 1135 w 1469"/>
                    <a:gd name="T55" fmla="*/ 1125 h 1162"/>
                    <a:gd name="T56" fmla="*/ 1139 w 1469"/>
                    <a:gd name="T57" fmla="*/ 1021 h 1162"/>
                    <a:gd name="T58" fmla="*/ 973 w 1469"/>
                    <a:gd name="T59" fmla="*/ 817 h 1162"/>
                    <a:gd name="T60" fmla="*/ 999 w 1469"/>
                    <a:gd name="T61" fmla="*/ 742 h 1162"/>
                    <a:gd name="T62" fmla="*/ 1001 w 1469"/>
                    <a:gd name="T63" fmla="*/ 660 h 1162"/>
                    <a:gd name="T64" fmla="*/ 981 w 1469"/>
                    <a:gd name="T65" fmla="*/ 582 h 1162"/>
                    <a:gd name="T66" fmla="*/ 940 w 1469"/>
                    <a:gd name="T67" fmla="*/ 515 h 1162"/>
                    <a:gd name="T68" fmla="*/ 882 w 1469"/>
                    <a:gd name="T69" fmla="*/ 461 h 1162"/>
                    <a:gd name="T70" fmla="*/ 811 w 1469"/>
                    <a:gd name="T71" fmla="*/ 426 h 1162"/>
                    <a:gd name="T72" fmla="*/ 729 w 1469"/>
                    <a:gd name="T73" fmla="*/ 411 h 1162"/>
                    <a:gd name="T74" fmla="*/ 646 w 1469"/>
                    <a:gd name="T75" fmla="*/ 421 h 1162"/>
                    <a:gd name="T76" fmla="*/ 572 w 1469"/>
                    <a:gd name="T77" fmla="*/ 454 h 1162"/>
                    <a:gd name="T78" fmla="*/ 510 w 1469"/>
                    <a:gd name="T79" fmla="*/ 505 h 1162"/>
                    <a:gd name="T80" fmla="*/ 466 w 1469"/>
                    <a:gd name="T81" fmla="*/ 572 h 1162"/>
                    <a:gd name="T82" fmla="*/ 241 w 1469"/>
                    <a:gd name="T83" fmla="*/ 619 h 1162"/>
                    <a:gd name="T84" fmla="*/ 190 w 1469"/>
                    <a:gd name="T85" fmla="*/ 640 h 1162"/>
                    <a:gd name="T86" fmla="*/ 121 w 1469"/>
                    <a:gd name="T87" fmla="*/ 681 h 1162"/>
                    <a:gd name="T88" fmla="*/ 84 w 1469"/>
                    <a:gd name="T89" fmla="*/ 663 h 1162"/>
                    <a:gd name="T90" fmla="*/ 54 w 1469"/>
                    <a:gd name="T91" fmla="*/ 648 h 1162"/>
                    <a:gd name="T92" fmla="*/ 36 w 1469"/>
                    <a:gd name="T93" fmla="*/ 638 h 1162"/>
                    <a:gd name="T94" fmla="*/ 0 w 1469"/>
                    <a:gd name="T95" fmla="*/ 531 h 1162"/>
                    <a:gd name="T96" fmla="*/ 131 w 1469"/>
                    <a:gd name="T97" fmla="*/ 264 h 1162"/>
                    <a:gd name="T98" fmla="*/ 258 w 1469"/>
                    <a:gd name="T99" fmla="*/ 237 h 1162"/>
                    <a:gd name="T100" fmla="*/ 278 w 1469"/>
                    <a:gd name="T101" fmla="*/ 246 h 1162"/>
                    <a:gd name="T102" fmla="*/ 308 w 1469"/>
                    <a:gd name="T103" fmla="*/ 261 h 1162"/>
                    <a:gd name="T104" fmla="*/ 342 w 1469"/>
                    <a:gd name="T105" fmla="*/ 277 h 1162"/>
                    <a:gd name="T106" fmla="*/ 373 w 1469"/>
                    <a:gd name="T107" fmla="*/ 293 h 1162"/>
                    <a:gd name="T108" fmla="*/ 451 w 1469"/>
                    <a:gd name="T109" fmla="*/ 242 h 1162"/>
                    <a:gd name="T110" fmla="*/ 449 w 1469"/>
                    <a:gd name="T111" fmla="*/ 206 h 1162"/>
                    <a:gd name="T112" fmla="*/ 448 w 1469"/>
                    <a:gd name="T113" fmla="*/ 164 h 1162"/>
                    <a:gd name="T114" fmla="*/ 446 w 1469"/>
                    <a:gd name="T115" fmla="*/ 127 h 1162"/>
                    <a:gd name="T116" fmla="*/ 445 w 1469"/>
                    <a:gd name="T117" fmla="*/ 104 h 1162"/>
                    <a:gd name="T118" fmla="*/ 538 w 1469"/>
                    <a:gd name="T119" fmla="*/ 14 h 1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469" h="1162">
                      <a:moveTo>
                        <a:pt x="820" y="0"/>
                      </a:moveTo>
                      <a:lnTo>
                        <a:pt x="907" y="93"/>
                      </a:lnTo>
                      <a:lnTo>
                        <a:pt x="907" y="96"/>
                      </a:lnTo>
                      <a:lnTo>
                        <a:pt x="907" y="105"/>
                      </a:lnTo>
                      <a:lnTo>
                        <a:pt x="908" y="117"/>
                      </a:lnTo>
                      <a:lnTo>
                        <a:pt x="909" y="134"/>
                      </a:lnTo>
                      <a:lnTo>
                        <a:pt x="909" y="151"/>
                      </a:lnTo>
                      <a:lnTo>
                        <a:pt x="910" y="169"/>
                      </a:lnTo>
                      <a:lnTo>
                        <a:pt x="911" y="185"/>
                      </a:lnTo>
                      <a:lnTo>
                        <a:pt x="913" y="201"/>
                      </a:lnTo>
                      <a:lnTo>
                        <a:pt x="966" y="219"/>
                      </a:lnTo>
                      <a:lnTo>
                        <a:pt x="1015" y="243"/>
                      </a:lnTo>
                      <a:lnTo>
                        <a:pt x="1026" y="233"/>
                      </a:lnTo>
                      <a:lnTo>
                        <a:pt x="1040" y="224"/>
                      </a:lnTo>
                      <a:lnTo>
                        <a:pt x="1053" y="213"/>
                      </a:lnTo>
                      <a:lnTo>
                        <a:pt x="1067" y="202"/>
                      </a:lnTo>
                      <a:lnTo>
                        <a:pt x="1081" y="191"/>
                      </a:lnTo>
                      <a:lnTo>
                        <a:pt x="1092" y="182"/>
                      </a:lnTo>
                      <a:lnTo>
                        <a:pt x="1101" y="174"/>
                      </a:lnTo>
                      <a:lnTo>
                        <a:pt x="1107" y="170"/>
                      </a:lnTo>
                      <a:lnTo>
                        <a:pt x="1109" y="168"/>
                      </a:lnTo>
                      <a:lnTo>
                        <a:pt x="1238" y="172"/>
                      </a:lnTo>
                      <a:lnTo>
                        <a:pt x="1414" y="390"/>
                      </a:lnTo>
                      <a:lnTo>
                        <a:pt x="1409" y="517"/>
                      </a:lnTo>
                      <a:lnTo>
                        <a:pt x="1407" y="519"/>
                      </a:lnTo>
                      <a:lnTo>
                        <a:pt x="1401" y="524"/>
                      </a:lnTo>
                      <a:lnTo>
                        <a:pt x="1392" y="532"/>
                      </a:lnTo>
                      <a:lnTo>
                        <a:pt x="1380" y="540"/>
                      </a:lnTo>
                      <a:lnTo>
                        <a:pt x="1367" y="551"/>
                      </a:lnTo>
                      <a:lnTo>
                        <a:pt x="1352" y="563"/>
                      </a:lnTo>
                      <a:lnTo>
                        <a:pt x="1336" y="576"/>
                      </a:lnTo>
                      <a:lnTo>
                        <a:pt x="1322" y="588"/>
                      </a:lnTo>
                      <a:lnTo>
                        <a:pt x="1307" y="599"/>
                      </a:lnTo>
                      <a:lnTo>
                        <a:pt x="1295" y="608"/>
                      </a:lnTo>
                      <a:lnTo>
                        <a:pt x="1300" y="648"/>
                      </a:lnTo>
                      <a:lnTo>
                        <a:pt x="1302" y="687"/>
                      </a:lnTo>
                      <a:lnTo>
                        <a:pt x="1315" y="696"/>
                      </a:lnTo>
                      <a:lnTo>
                        <a:pt x="1331" y="705"/>
                      </a:lnTo>
                      <a:lnTo>
                        <a:pt x="1347" y="716"/>
                      </a:lnTo>
                      <a:lnTo>
                        <a:pt x="1364" y="726"/>
                      </a:lnTo>
                      <a:lnTo>
                        <a:pt x="1380" y="736"/>
                      </a:lnTo>
                      <a:lnTo>
                        <a:pt x="1396" y="745"/>
                      </a:lnTo>
                      <a:lnTo>
                        <a:pt x="1410" y="754"/>
                      </a:lnTo>
                      <a:lnTo>
                        <a:pt x="1422" y="762"/>
                      </a:lnTo>
                      <a:lnTo>
                        <a:pt x="1431" y="767"/>
                      </a:lnTo>
                      <a:lnTo>
                        <a:pt x="1438" y="771"/>
                      </a:lnTo>
                      <a:lnTo>
                        <a:pt x="1440" y="773"/>
                      </a:lnTo>
                      <a:lnTo>
                        <a:pt x="1469" y="897"/>
                      </a:lnTo>
                      <a:lnTo>
                        <a:pt x="1321" y="1134"/>
                      </a:lnTo>
                      <a:lnTo>
                        <a:pt x="1195" y="1162"/>
                      </a:lnTo>
                      <a:lnTo>
                        <a:pt x="1192" y="1161"/>
                      </a:lnTo>
                      <a:lnTo>
                        <a:pt x="1186" y="1157"/>
                      </a:lnTo>
                      <a:lnTo>
                        <a:pt x="1177" y="1150"/>
                      </a:lnTo>
                      <a:lnTo>
                        <a:pt x="1165" y="1143"/>
                      </a:lnTo>
                      <a:lnTo>
                        <a:pt x="1150" y="1135"/>
                      </a:lnTo>
                      <a:lnTo>
                        <a:pt x="1135" y="1125"/>
                      </a:lnTo>
                      <a:lnTo>
                        <a:pt x="1137" y="1050"/>
                      </a:lnTo>
                      <a:lnTo>
                        <a:pt x="1139" y="1021"/>
                      </a:lnTo>
                      <a:lnTo>
                        <a:pt x="1120" y="999"/>
                      </a:lnTo>
                      <a:lnTo>
                        <a:pt x="973" y="817"/>
                      </a:lnTo>
                      <a:lnTo>
                        <a:pt x="989" y="781"/>
                      </a:lnTo>
                      <a:lnTo>
                        <a:pt x="999" y="742"/>
                      </a:lnTo>
                      <a:lnTo>
                        <a:pt x="1003" y="700"/>
                      </a:lnTo>
                      <a:lnTo>
                        <a:pt x="1001" y="660"/>
                      </a:lnTo>
                      <a:lnTo>
                        <a:pt x="993" y="619"/>
                      </a:lnTo>
                      <a:lnTo>
                        <a:pt x="981" y="582"/>
                      </a:lnTo>
                      <a:lnTo>
                        <a:pt x="962" y="547"/>
                      </a:lnTo>
                      <a:lnTo>
                        <a:pt x="940" y="515"/>
                      </a:lnTo>
                      <a:lnTo>
                        <a:pt x="913" y="486"/>
                      </a:lnTo>
                      <a:lnTo>
                        <a:pt x="882" y="461"/>
                      </a:lnTo>
                      <a:lnTo>
                        <a:pt x="847" y="442"/>
                      </a:lnTo>
                      <a:lnTo>
                        <a:pt x="811" y="426"/>
                      </a:lnTo>
                      <a:lnTo>
                        <a:pt x="771" y="415"/>
                      </a:lnTo>
                      <a:lnTo>
                        <a:pt x="729" y="411"/>
                      </a:lnTo>
                      <a:lnTo>
                        <a:pt x="687" y="413"/>
                      </a:lnTo>
                      <a:lnTo>
                        <a:pt x="646" y="421"/>
                      </a:lnTo>
                      <a:lnTo>
                        <a:pt x="607" y="435"/>
                      </a:lnTo>
                      <a:lnTo>
                        <a:pt x="572" y="454"/>
                      </a:lnTo>
                      <a:lnTo>
                        <a:pt x="539" y="477"/>
                      </a:lnTo>
                      <a:lnTo>
                        <a:pt x="510" y="505"/>
                      </a:lnTo>
                      <a:lnTo>
                        <a:pt x="486" y="537"/>
                      </a:lnTo>
                      <a:lnTo>
                        <a:pt x="466" y="572"/>
                      </a:lnTo>
                      <a:lnTo>
                        <a:pt x="450" y="610"/>
                      </a:lnTo>
                      <a:lnTo>
                        <a:pt x="241" y="619"/>
                      </a:lnTo>
                      <a:lnTo>
                        <a:pt x="213" y="622"/>
                      </a:lnTo>
                      <a:lnTo>
                        <a:pt x="190" y="640"/>
                      </a:lnTo>
                      <a:lnTo>
                        <a:pt x="139" y="690"/>
                      </a:lnTo>
                      <a:lnTo>
                        <a:pt x="121" y="681"/>
                      </a:lnTo>
                      <a:lnTo>
                        <a:pt x="103" y="671"/>
                      </a:lnTo>
                      <a:lnTo>
                        <a:pt x="84" y="663"/>
                      </a:lnTo>
                      <a:lnTo>
                        <a:pt x="69" y="654"/>
                      </a:lnTo>
                      <a:lnTo>
                        <a:pt x="54" y="648"/>
                      </a:lnTo>
                      <a:lnTo>
                        <a:pt x="43" y="642"/>
                      </a:lnTo>
                      <a:lnTo>
                        <a:pt x="36" y="638"/>
                      </a:lnTo>
                      <a:lnTo>
                        <a:pt x="33" y="637"/>
                      </a:lnTo>
                      <a:lnTo>
                        <a:pt x="0" y="531"/>
                      </a:lnTo>
                      <a:lnTo>
                        <a:pt x="5" y="513"/>
                      </a:lnTo>
                      <a:lnTo>
                        <a:pt x="131" y="264"/>
                      </a:lnTo>
                      <a:lnTo>
                        <a:pt x="256" y="235"/>
                      </a:lnTo>
                      <a:lnTo>
                        <a:pt x="258" y="237"/>
                      </a:lnTo>
                      <a:lnTo>
                        <a:pt x="266" y="240"/>
                      </a:lnTo>
                      <a:lnTo>
                        <a:pt x="278" y="246"/>
                      </a:lnTo>
                      <a:lnTo>
                        <a:pt x="291" y="253"/>
                      </a:lnTo>
                      <a:lnTo>
                        <a:pt x="308" y="261"/>
                      </a:lnTo>
                      <a:lnTo>
                        <a:pt x="325" y="270"/>
                      </a:lnTo>
                      <a:lnTo>
                        <a:pt x="342" y="277"/>
                      </a:lnTo>
                      <a:lnTo>
                        <a:pt x="359" y="286"/>
                      </a:lnTo>
                      <a:lnTo>
                        <a:pt x="373" y="293"/>
                      </a:lnTo>
                      <a:lnTo>
                        <a:pt x="411" y="266"/>
                      </a:lnTo>
                      <a:lnTo>
                        <a:pt x="451" y="242"/>
                      </a:lnTo>
                      <a:lnTo>
                        <a:pt x="450" y="226"/>
                      </a:lnTo>
                      <a:lnTo>
                        <a:pt x="449" y="206"/>
                      </a:lnTo>
                      <a:lnTo>
                        <a:pt x="448" y="185"/>
                      </a:lnTo>
                      <a:lnTo>
                        <a:pt x="448" y="164"/>
                      </a:lnTo>
                      <a:lnTo>
                        <a:pt x="447" y="145"/>
                      </a:lnTo>
                      <a:lnTo>
                        <a:pt x="446" y="127"/>
                      </a:lnTo>
                      <a:lnTo>
                        <a:pt x="445" y="113"/>
                      </a:lnTo>
                      <a:lnTo>
                        <a:pt x="445" y="104"/>
                      </a:lnTo>
                      <a:lnTo>
                        <a:pt x="445" y="101"/>
                      </a:lnTo>
                      <a:lnTo>
                        <a:pt x="538" y="14"/>
                      </a:lnTo>
                      <a:lnTo>
                        <a:pt x="8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2" name="Freeform 184"/>
                <p:cNvSpPr>
                  <a:spLocks noEditPoints="1"/>
                </p:cNvSpPr>
                <p:nvPr/>
              </p:nvSpPr>
              <p:spPr bwMode="auto">
                <a:xfrm>
                  <a:off x="-820" y="4066"/>
                  <a:ext cx="35" cy="54"/>
                </a:xfrm>
                <a:custGeom>
                  <a:avLst/>
                  <a:gdLst>
                    <a:gd name="T0" fmla="*/ 86 w 207"/>
                    <a:gd name="T1" fmla="*/ 35 h 321"/>
                    <a:gd name="T2" fmla="*/ 60 w 207"/>
                    <a:gd name="T3" fmla="*/ 55 h 321"/>
                    <a:gd name="T4" fmla="*/ 45 w 207"/>
                    <a:gd name="T5" fmla="*/ 96 h 321"/>
                    <a:gd name="T6" fmla="*/ 40 w 207"/>
                    <a:gd name="T7" fmla="*/ 161 h 321"/>
                    <a:gd name="T8" fmla="*/ 43 w 207"/>
                    <a:gd name="T9" fmla="*/ 215 h 321"/>
                    <a:gd name="T10" fmla="*/ 52 w 207"/>
                    <a:gd name="T11" fmla="*/ 251 h 321"/>
                    <a:gd name="T12" fmla="*/ 72 w 207"/>
                    <a:gd name="T13" fmla="*/ 279 h 321"/>
                    <a:gd name="T14" fmla="*/ 104 w 207"/>
                    <a:gd name="T15" fmla="*/ 290 h 321"/>
                    <a:gd name="T16" fmla="*/ 136 w 207"/>
                    <a:gd name="T17" fmla="*/ 279 h 321"/>
                    <a:gd name="T18" fmla="*/ 157 w 207"/>
                    <a:gd name="T19" fmla="*/ 248 h 321"/>
                    <a:gd name="T20" fmla="*/ 166 w 207"/>
                    <a:gd name="T21" fmla="*/ 196 h 321"/>
                    <a:gd name="T22" fmla="*/ 166 w 207"/>
                    <a:gd name="T23" fmla="*/ 132 h 321"/>
                    <a:gd name="T24" fmla="*/ 160 w 207"/>
                    <a:gd name="T25" fmla="*/ 87 h 321"/>
                    <a:gd name="T26" fmla="*/ 148 w 207"/>
                    <a:gd name="T27" fmla="*/ 58 h 321"/>
                    <a:gd name="T28" fmla="*/ 121 w 207"/>
                    <a:gd name="T29" fmla="*/ 35 h 321"/>
                    <a:gd name="T30" fmla="*/ 104 w 207"/>
                    <a:gd name="T31" fmla="*/ 0 h 321"/>
                    <a:gd name="T32" fmla="*/ 148 w 207"/>
                    <a:gd name="T33" fmla="*/ 10 h 321"/>
                    <a:gd name="T34" fmla="*/ 180 w 207"/>
                    <a:gd name="T35" fmla="*/ 40 h 321"/>
                    <a:gd name="T36" fmla="*/ 200 w 207"/>
                    <a:gd name="T37" fmla="*/ 87 h 321"/>
                    <a:gd name="T38" fmla="*/ 206 w 207"/>
                    <a:gd name="T39" fmla="*/ 132 h 321"/>
                    <a:gd name="T40" fmla="*/ 206 w 207"/>
                    <a:gd name="T41" fmla="*/ 195 h 321"/>
                    <a:gd name="T42" fmla="*/ 196 w 207"/>
                    <a:gd name="T43" fmla="*/ 251 h 321"/>
                    <a:gd name="T44" fmla="*/ 175 w 207"/>
                    <a:gd name="T45" fmla="*/ 290 h 321"/>
                    <a:gd name="T46" fmla="*/ 145 w 207"/>
                    <a:gd name="T47" fmla="*/ 314 h 321"/>
                    <a:gd name="T48" fmla="*/ 104 w 207"/>
                    <a:gd name="T49" fmla="*/ 321 h 321"/>
                    <a:gd name="T50" fmla="*/ 62 w 207"/>
                    <a:gd name="T51" fmla="*/ 314 h 321"/>
                    <a:gd name="T52" fmla="*/ 31 w 207"/>
                    <a:gd name="T53" fmla="*/ 290 h 321"/>
                    <a:gd name="T54" fmla="*/ 11 w 207"/>
                    <a:gd name="T55" fmla="*/ 250 h 321"/>
                    <a:gd name="T56" fmla="*/ 1 w 207"/>
                    <a:gd name="T57" fmla="*/ 194 h 321"/>
                    <a:gd name="T58" fmla="*/ 1 w 207"/>
                    <a:gd name="T59" fmla="*/ 126 h 321"/>
                    <a:gd name="T60" fmla="*/ 11 w 207"/>
                    <a:gd name="T61" fmla="*/ 71 h 321"/>
                    <a:gd name="T62" fmla="*/ 32 w 207"/>
                    <a:gd name="T63" fmla="*/ 33 h 321"/>
                    <a:gd name="T64" fmla="*/ 62 w 207"/>
                    <a:gd name="T65" fmla="*/ 9 h 321"/>
                    <a:gd name="T66" fmla="*/ 104 w 207"/>
                    <a:gd name="T67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5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3"/>
                      </a:lnTo>
                      <a:lnTo>
                        <a:pt x="45" y="96"/>
                      </a:lnTo>
                      <a:lnTo>
                        <a:pt x="41" y="125"/>
                      </a:lnTo>
                      <a:lnTo>
                        <a:pt x="40" y="161"/>
                      </a:lnTo>
                      <a:lnTo>
                        <a:pt x="41" y="190"/>
                      </a:lnTo>
                      <a:lnTo>
                        <a:pt x="43" y="215"/>
                      </a:lnTo>
                      <a:lnTo>
                        <a:pt x="47" y="235"/>
                      </a:lnTo>
                      <a:lnTo>
                        <a:pt x="52" y="251"/>
                      </a:lnTo>
                      <a:lnTo>
                        <a:pt x="59" y="264"/>
                      </a:lnTo>
                      <a:lnTo>
                        <a:pt x="72" y="279"/>
                      </a:lnTo>
                      <a:lnTo>
                        <a:pt x="86" y="287"/>
                      </a:lnTo>
                      <a:lnTo>
                        <a:pt x="104" y="290"/>
                      </a:lnTo>
                      <a:lnTo>
                        <a:pt x="121" y="287"/>
                      </a:lnTo>
                      <a:lnTo>
                        <a:pt x="136" y="279"/>
                      </a:lnTo>
                      <a:lnTo>
                        <a:pt x="148" y="264"/>
                      </a:lnTo>
                      <a:lnTo>
                        <a:pt x="157" y="248"/>
                      </a:lnTo>
                      <a:lnTo>
                        <a:pt x="163" y="225"/>
                      </a:lnTo>
                      <a:lnTo>
                        <a:pt x="166" y="196"/>
                      </a:lnTo>
                      <a:lnTo>
                        <a:pt x="167" y="161"/>
                      </a:lnTo>
                      <a:lnTo>
                        <a:pt x="166" y="132"/>
                      </a:lnTo>
                      <a:lnTo>
                        <a:pt x="164" y="108"/>
                      </a:lnTo>
                      <a:lnTo>
                        <a:pt x="160" y="87"/>
                      </a:lnTo>
                      <a:lnTo>
                        <a:pt x="155" y="70"/>
                      </a:lnTo>
                      <a:lnTo>
                        <a:pt x="148" y="58"/>
                      </a:lnTo>
                      <a:lnTo>
                        <a:pt x="135" y="44"/>
                      </a:lnTo>
                      <a:lnTo>
                        <a:pt x="121" y="35"/>
                      </a:lnTo>
                      <a:lnTo>
                        <a:pt x="103" y="32"/>
                      </a:lnTo>
                      <a:close/>
                      <a:moveTo>
                        <a:pt x="104" y="0"/>
                      </a:moveTo>
                      <a:lnTo>
                        <a:pt x="127" y="3"/>
                      </a:lnTo>
                      <a:lnTo>
                        <a:pt x="148" y="10"/>
                      </a:lnTo>
                      <a:lnTo>
                        <a:pt x="166" y="23"/>
                      </a:lnTo>
                      <a:lnTo>
                        <a:pt x="180" y="40"/>
                      </a:lnTo>
                      <a:lnTo>
                        <a:pt x="191" y="62"/>
                      </a:lnTo>
                      <a:lnTo>
                        <a:pt x="200" y="87"/>
                      </a:lnTo>
                      <a:lnTo>
                        <a:pt x="204" y="108"/>
                      </a:lnTo>
                      <a:lnTo>
                        <a:pt x="206" y="132"/>
                      </a:lnTo>
                      <a:lnTo>
                        <a:pt x="207" y="161"/>
                      </a:lnTo>
                      <a:lnTo>
                        <a:pt x="206" y="195"/>
                      </a:lnTo>
                      <a:lnTo>
                        <a:pt x="202" y="226"/>
                      </a:lnTo>
                      <a:lnTo>
                        <a:pt x="196" y="251"/>
                      </a:lnTo>
                      <a:lnTo>
                        <a:pt x="187" y="272"/>
                      </a:lnTo>
                      <a:lnTo>
                        <a:pt x="175" y="290"/>
                      </a:lnTo>
                      <a:lnTo>
                        <a:pt x="162" y="303"/>
                      </a:lnTo>
                      <a:lnTo>
                        <a:pt x="145" y="314"/>
                      </a:lnTo>
                      <a:lnTo>
                        <a:pt x="125" y="319"/>
                      </a:lnTo>
                      <a:lnTo>
                        <a:pt x="104" y="321"/>
                      </a:lnTo>
                      <a:lnTo>
                        <a:pt x="82" y="319"/>
                      </a:lnTo>
                      <a:lnTo>
                        <a:pt x="62" y="314"/>
                      </a:lnTo>
                      <a:lnTo>
                        <a:pt x="45" y="304"/>
                      </a:lnTo>
                      <a:lnTo>
                        <a:pt x="31" y="290"/>
                      </a:lnTo>
                      <a:lnTo>
                        <a:pt x="20" y="272"/>
                      </a:lnTo>
                      <a:lnTo>
                        <a:pt x="11" y="250"/>
                      </a:lnTo>
                      <a:lnTo>
                        <a:pt x="4" y="224"/>
                      </a:lnTo>
                      <a:lnTo>
                        <a:pt x="1" y="194"/>
                      </a:lnTo>
                      <a:lnTo>
                        <a:pt x="0" y="161"/>
                      </a:lnTo>
                      <a:lnTo>
                        <a:pt x="1" y="126"/>
                      </a:lnTo>
                      <a:lnTo>
                        <a:pt x="4" y="97"/>
                      </a:lnTo>
                      <a:lnTo>
                        <a:pt x="11" y="71"/>
                      </a:lnTo>
                      <a:lnTo>
                        <a:pt x="20" y="51"/>
                      </a:lnTo>
                      <a:lnTo>
                        <a:pt x="32" y="33"/>
                      </a:lnTo>
                      <a:lnTo>
                        <a:pt x="47" y="19"/>
                      </a:lnTo>
                      <a:lnTo>
                        <a:pt x="62" y="9"/>
                      </a:lnTo>
                      <a:lnTo>
                        <a:pt x="82" y="2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3" name="Freeform 185"/>
                <p:cNvSpPr>
                  <a:spLocks/>
                </p:cNvSpPr>
                <p:nvPr/>
              </p:nvSpPr>
              <p:spPr bwMode="auto">
                <a:xfrm>
                  <a:off x="-774" y="4066"/>
                  <a:ext cx="20" cy="53"/>
                </a:xfrm>
                <a:custGeom>
                  <a:avLst/>
                  <a:gdLst>
                    <a:gd name="T0" fmla="*/ 91 w 116"/>
                    <a:gd name="T1" fmla="*/ 0 h 316"/>
                    <a:gd name="T2" fmla="*/ 116 w 116"/>
                    <a:gd name="T3" fmla="*/ 0 h 316"/>
                    <a:gd name="T4" fmla="*/ 116 w 116"/>
                    <a:gd name="T5" fmla="*/ 316 h 316"/>
                    <a:gd name="T6" fmla="*/ 77 w 116"/>
                    <a:gd name="T7" fmla="*/ 316 h 316"/>
                    <a:gd name="T8" fmla="*/ 77 w 116"/>
                    <a:gd name="T9" fmla="*/ 70 h 316"/>
                    <a:gd name="T10" fmla="*/ 61 w 116"/>
                    <a:gd name="T11" fmla="*/ 83 h 316"/>
                    <a:gd name="T12" fmla="*/ 40 w 116"/>
                    <a:gd name="T13" fmla="*/ 97 h 316"/>
                    <a:gd name="T14" fmla="*/ 18 w 116"/>
                    <a:gd name="T15" fmla="*/ 109 h 316"/>
                    <a:gd name="T16" fmla="*/ 0 w 116"/>
                    <a:gd name="T17" fmla="*/ 116 h 316"/>
                    <a:gd name="T18" fmla="*/ 0 w 116"/>
                    <a:gd name="T19" fmla="*/ 79 h 316"/>
                    <a:gd name="T20" fmla="*/ 30 w 116"/>
                    <a:gd name="T21" fmla="*/ 63 h 316"/>
                    <a:gd name="T22" fmla="*/ 57 w 116"/>
                    <a:gd name="T23" fmla="*/ 43 h 316"/>
                    <a:gd name="T24" fmla="*/ 78 w 116"/>
                    <a:gd name="T25" fmla="*/ 21 h 316"/>
                    <a:gd name="T26" fmla="*/ 91 w 116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6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6"/>
                      </a:lnTo>
                      <a:lnTo>
                        <a:pt x="77" y="316"/>
                      </a:lnTo>
                      <a:lnTo>
                        <a:pt x="77" y="70"/>
                      </a:lnTo>
                      <a:lnTo>
                        <a:pt x="61" y="83"/>
                      </a:lnTo>
                      <a:lnTo>
                        <a:pt x="40" y="97"/>
                      </a:lnTo>
                      <a:lnTo>
                        <a:pt x="18" y="109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0" y="63"/>
                      </a:lnTo>
                      <a:lnTo>
                        <a:pt x="57" y="43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186"/>
                <p:cNvSpPr>
                  <a:spLocks noEditPoints="1"/>
                </p:cNvSpPr>
                <p:nvPr/>
              </p:nvSpPr>
              <p:spPr bwMode="auto">
                <a:xfrm>
                  <a:off x="-818" y="4144"/>
                  <a:ext cx="34" cy="54"/>
                </a:xfrm>
                <a:custGeom>
                  <a:avLst/>
                  <a:gdLst>
                    <a:gd name="T0" fmla="*/ 86 w 207"/>
                    <a:gd name="T1" fmla="*/ 35 h 323"/>
                    <a:gd name="T2" fmla="*/ 60 w 207"/>
                    <a:gd name="T3" fmla="*/ 55 h 323"/>
                    <a:gd name="T4" fmla="*/ 44 w 207"/>
                    <a:gd name="T5" fmla="*/ 96 h 323"/>
                    <a:gd name="T6" fmla="*/ 40 w 207"/>
                    <a:gd name="T7" fmla="*/ 162 h 323"/>
                    <a:gd name="T8" fmla="*/ 43 w 207"/>
                    <a:gd name="T9" fmla="*/ 215 h 323"/>
                    <a:gd name="T10" fmla="*/ 51 w 207"/>
                    <a:gd name="T11" fmla="*/ 253 h 323"/>
                    <a:gd name="T12" fmla="*/ 71 w 207"/>
                    <a:gd name="T13" fmla="*/ 279 h 323"/>
                    <a:gd name="T14" fmla="*/ 103 w 207"/>
                    <a:gd name="T15" fmla="*/ 290 h 323"/>
                    <a:gd name="T16" fmla="*/ 135 w 207"/>
                    <a:gd name="T17" fmla="*/ 279 h 323"/>
                    <a:gd name="T18" fmla="*/ 155 w 207"/>
                    <a:gd name="T19" fmla="*/ 253 h 323"/>
                    <a:gd name="T20" fmla="*/ 163 w 207"/>
                    <a:gd name="T21" fmla="*/ 215 h 323"/>
                    <a:gd name="T22" fmla="*/ 167 w 207"/>
                    <a:gd name="T23" fmla="*/ 162 h 323"/>
                    <a:gd name="T24" fmla="*/ 163 w 207"/>
                    <a:gd name="T25" fmla="*/ 108 h 323"/>
                    <a:gd name="T26" fmla="*/ 155 w 207"/>
                    <a:gd name="T27" fmla="*/ 71 h 323"/>
                    <a:gd name="T28" fmla="*/ 135 w 207"/>
                    <a:gd name="T29" fmla="*/ 44 h 323"/>
                    <a:gd name="T30" fmla="*/ 103 w 207"/>
                    <a:gd name="T31" fmla="*/ 32 h 323"/>
                    <a:gd name="T32" fmla="*/ 119 w 207"/>
                    <a:gd name="T33" fmla="*/ 1 h 323"/>
                    <a:gd name="T34" fmla="*/ 148 w 207"/>
                    <a:gd name="T35" fmla="*/ 11 h 323"/>
                    <a:gd name="T36" fmla="*/ 170 w 207"/>
                    <a:gd name="T37" fmla="*/ 29 h 323"/>
                    <a:gd name="T38" fmla="*/ 191 w 207"/>
                    <a:gd name="T39" fmla="*/ 62 h 323"/>
                    <a:gd name="T40" fmla="*/ 203 w 207"/>
                    <a:gd name="T41" fmla="*/ 108 h 323"/>
                    <a:gd name="T42" fmla="*/ 207 w 207"/>
                    <a:gd name="T43" fmla="*/ 162 h 323"/>
                    <a:gd name="T44" fmla="*/ 201 w 207"/>
                    <a:gd name="T45" fmla="*/ 226 h 323"/>
                    <a:gd name="T46" fmla="*/ 186 w 207"/>
                    <a:gd name="T47" fmla="*/ 272 h 323"/>
                    <a:gd name="T48" fmla="*/ 160 w 207"/>
                    <a:gd name="T49" fmla="*/ 303 h 323"/>
                    <a:gd name="T50" fmla="*/ 125 w 207"/>
                    <a:gd name="T51" fmla="*/ 321 h 323"/>
                    <a:gd name="T52" fmla="*/ 82 w 207"/>
                    <a:gd name="T53" fmla="*/ 321 h 323"/>
                    <a:gd name="T54" fmla="*/ 45 w 207"/>
                    <a:gd name="T55" fmla="*/ 304 h 323"/>
                    <a:gd name="T56" fmla="*/ 20 w 207"/>
                    <a:gd name="T57" fmla="*/ 271 h 323"/>
                    <a:gd name="T58" fmla="*/ 4 w 207"/>
                    <a:gd name="T59" fmla="*/ 224 h 323"/>
                    <a:gd name="T60" fmla="*/ 0 w 207"/>
                    <a:gd name="T61" fmla="*/ 162 h 323"/>
                    <a:gd name="T62" fmla="*/ 4 w 207"/>
                    <a:gd name="T63" fmla="*/ 97 h 323"/>
                    <a:gd name="T64" fmla="*/ 20 w 207"/>
                    <a:gd name="T65" fmla="*/ 51 h 323"/>
                    <a:gd name="T66" fmla="*/ 45 w 207"/>
                    <a:gd name="T67" fmla="*/ 19 h 323"/>
                    <a:gd name="T68" fmla="*/ 82 w 207"/>
                    <a:gd name="T69" fmla="*/ 3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7" h="323">
                      <a:moveTo>
                        <a:pt x="103" y="32"/>
                      </a:moveTo>
                      <a:lnTo>
                        <a:pt x="86" y="35"/>
                      </a:lnTo>
                      <a:lnTo>
                        <a:pt x="72" y="43"/>
                      </a:lnTo>
                      <a:lnTo>
                        <a:pt x="60" y="55"/>
                      </a:lnTo>
                      <a:lnTo>
                        <a:pt x="51" y="73"/>
                      </a:lnTo>
                      <a:lnTo>
                        <a:pt x="44" y="96"/>
                      </a:lnTo>
                      <a:lnTo>
                        <a:pt x="41" y="125"/>
                      </a:lnTo>
                      <a:lnTo>
                        <a:pt x="40" y="162"/>
                      </a:lnTo>
                      <a:lnTo>
                        <a:pt x="41" y="190"/>
                      </a:lnTo>
                      <a:lnTo>
                        <a:pt x="43" y="215"/>
                      </a:lnTo>
                      <a:lnTo>
                        <a:pt x="46" y="236"/>
                      </a:lnTo>
                      <a:lnTo>
                        <a:pt x="51" y="253"/>
                      </a:lnTo>
                      <a:lnTo>
                        <a:pt x="57" y="265"/>
                      </a:lnTo>
                      <a:lnTo>
                        <a:pt x="71" y="279"/>
                      </a:lnTo>
                      <a:lnTo>
                        <a:pt x="86" y="288"/>
                      </a:lnTo>
                      <a:lnTo>
                        <a:pt x="103" y="290"/>
                      </a:lnTo>
                      <a:lnTo>
                        <a:pt x="120" y="288"/>
                      </a:lnTo>
                      <a:lnTo>
                        <a:pt x="135" y="279"/>
                      </a:lnTo>
                      <a:lnTo>
                        <a:pt x="148" y="265"/>
                      </a:lnTo>
                      <a:lnTo>
                        <a:pt x="155" y="253"/>
                      </a:lnTo>
                      <a:lnTo>
                        <a:pt x="160" y="236"/>
                      </a:lnTo>
                      <a:lnTo>
                        <a:pt x="163" y="215"/>
                      </a:lnTo>
                      <a:lnTo>
                        <a:pt x="166" y="190"/>
                      </a:lnTo>
                      <a:lnTo>
                        <a:pt x="167" y="162"/>
                      </a:lnTo>
                      <a:lnTo>
                        <a:pt x="166" y="132"/>
                      </a:lnTo>
                      <a:lnTo>
                        <a:pt x="163" y="108"/>
                      </a:lnTo>
                      <a:lnTo>
                        <a:pt x="160" y="87"/>
                      </a:lnTo>
                      <a:lnTo>
                        <a:pt x="155" y="71"/>
                      </a:lnTo>
                      <a:lnTo>
                        <a:pt x="148" y="58"/>
                      </a:lnTo>
                      <a:lnTo>
                        <a:pt x="135" y="44"/>
                      </a:lnTo>
                      <a:lnTo>
                        <a:pt x="119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19" y="1"/>
                      </a:lnTo>
                      <a:lnTo>
                        <a:pt x="135" y="5"/>
                      </a:lnTo>
                      <a:lnTo>
                        <a:pt x="148" y="11"/>
                      </a:lnTo>
                      <a:lnTo>
                        <a:pt x="160" y="19"/>
                      </a:lnTo>
                      <a:lnTo>
                        <a:pt x="170" y="29"/>
                      </a:lnTo>
                      <a:lnTo>
                        <a:pt x="179" y="40"/>
                      </a:lnTo>
                      <a:lnTo>
                        <a:pt x="191" y="62"/>
                      </a:lnTo>
                      <a:lnTo>
                        <a:pt x="200" y="87"/>
                      </a:lnTo>
                      <a:lnTo>
                        <a:pt x="203" y="108"/>
                      </a:lnTo>
                      <a:lnTo>
                        <a:pt x="205" y="132"/>
                      </a:lnTo>
                      <a:lnTo>
                        <a:pt x="207" y="162"/>
                      </a:lnTo>
                      <a:lnTo>
                        <a:pt x="205" y="196"/>
                      </a:lnTo>
                      <a:lnTo>
                        <a:pt x="201" y="226"/>
                      </a:lnTo>
                      <a:lnTo>
                        <a:pt x="194" y="250"/>
                      </a:lnTo>
                      <a:lnTo>
                        <a:pt x="186" y="272"/>
                      </a:lnTo>
                      <a:lnTo>
                        <a:pt x="175" y="290"/>
                      </a:lnTo>
                      <a:lnTo>
                        <a:pt x="160" y="303"/>
                      </a:lnTo>
                      <a:lnTo>
                        <a:pt x="145" y="314"/>
                      </a:lnTo>
                      <a:lnTo>
                        <a:pt x="125" y="321"/>
                      </a:lnTo>
                      <a:lnTo>
                        <a:pt x="103" y="323"/>
                      </a:lnTo>
                      <a:lnTo>
                        <a:pt x="82" y="321"/>
                      </a:lnTo>
                      <a:lnTo>
                        <a:pt x="62" y="314"/>
                      </a:lnTo>
                      <a:lnTo>
                        <a:pt x="45" y="304"/>
                      </a:lnTo>
                      <a:lnTo>
                        <a:pt x="31" y="290"/>
                      </a:lnTo>
                      <a:lnTo>
                        <a:pt x="20" y="271"/>
                      </a:lnTo>
                      <a:lnTo>
                        <a:pt x="11" y="250"/>
                      </a:lnTo>
                      <a:lnTo>
                        <a:pt x="4" y="224"/>
                      </a:lnTo>
                      <a:lnTo>
                        <a:pt x="1" y="194"/>
                      </a:lnTo>
                      <a:lnTo>
                        <a:pt x="0" y="162"/>
                      </a:lnTo>
                      <a:lnTo>
                        <a:pt x="1" y="126"/>
                      </a:lnTo>
                      <a:lnTo>
                        <a:pt x="4" y="97"/>
                      </a:lnTo>
                      <a:lnTo>
                        <a:pt x="11" y="72"/>
                      </a:lnTo>
                      <a:lnTo>
                        <a:pt x="20" y="51"/>
                      </a:lnTo>
                      <a:lnTo>
                        <a:pt x="32" y="33"/>
                      </a:lnTo>
                      <a:lnTo>
                        <a:pt x="45" y="19"/>
                      </a:lnTo>
                      <a:lnTo>
                        <a:pt x="62" y="9"/>
                      </a:lnTo>
                      <a:lnTo>
                        <a:pt x="82" y="3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187"/>
                <p:cNvSpPr>
                  <a:spLocks/>
                </p:cNvSpPr>
                <p:nvPr/>
              </p:nvSpPr>
              <p:spPr bwMode="auto">
                <a:xfrm>
                  <a:off x="-772" y="4144"/>
                  <a:ext cx="19" cy="53"/>
                </a:xfrm>
                <a:custGeom>
                  <a:avLst/>
                  <a:gdLst>
                    <a:gd name="T0" fmla="*/ 91 w 116"/>
                    <a:gd name="T1" fmla="*/ 0 h 317"/>
                    <a:gd name="T2" fmla="*/ 116 w 116"/>
                    <a:gd name="T3" fmla="*/ 0 h 317"/>
                    <a:gd name="T4" fmla="*/ 116 w 116"/>
                    <a:gd name="T5" fmla="*/ 317 h 317"/>
                    <a:gd name="T6" fmla="*/ 78 w 116"/>
                    <a:gd name="T7" fmla="*/ 317 h 317"/>
                    <a:gd name="T8" fmla="*/ 78 w 116"/>
                    <a:gd name="T9" fmla="*/ 71 h 317"/>
                    <a:gd name="T10" fmla="*/ 61 w 116"/>
                    <a:gd name="T11" fmla="*/ 84 h 317"/>
                    <a:gd name="T12" fmla="*/ 41 w 116"/>
                    <a:gd name="T13" fmla="*/ 97 h 317"/>
                    <a:gd name="T14" fmla="*/ 19 w 116"/>
                    <a:gd name="T15" fmla="*/ 109 h 317"/>
                    <a:gd name="T16" fmla="*/ 0 w 116"/>
                    <a:gd name="T17" fmla="*/ 117 h 317"/>
                    <a:gd name="T18" fmla="*/ 0 w 116"/>
                    <a:gd name="T19" fmla="*/ 79 h 317"/>
                    <a:gd name="T20" fmla="*/ 30 w 116"/>
                    <a:gd name="T21" fmla="*/ 63 h 317"/>
                    <a:gd name="T22" fmla="*/ 57 w 116"/>
                    <a:gd name="T23" fmla="*/ 42 h 317"/>
                    <a:gd name="T24" fmla="*/ 78 w 116"/>
                    <a:gd name="T25" fmla="*/ 21 h 317"/>
                    <a:gd name="T26" fmla="*/ 91 w 116"/>
                    <a:gd name="T27" fmla="*/ 0 h 3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7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7"/>
                      </a:lnTo>
                      <a:lnTo>
                        <a:pt x="78" y="317"/>
                      </a:lnTo>
                      <a:lnTo>
                        <a:pt x="78" y="71"/>
                      </a:lnTo>
                      <a:lnTo>
                        <a:pt x="61" y="84"/>
                      </a:lnTo>
                      <a:lnTo>
                        <a:pt x="41" y="97"/>
                      </a:lnTo>
                      <a:lnTo>
                        <a:pt x="19" y="109"/>
                      </a:lnTo>
                      <a:lnTo>
                        <a:pt x="0" y="117"/>
                      </a:lnTo>
                      <a:lnTo>
                        <a:pt x="0" y="79"/>
                      </a:lnTo>
                      <a:lnTo>
                        <a:pt x="30" y="63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188"/>
                <p:cNvSpPr>
                  <a:spLocks/>
                </p:cNvSpPr>
                <p:nvPr/>
              </p:nvSpPr>
              <p:spPr bwMode="auto">
                <a:xfrm>
                  <a:off x="-737" y="4144"/>
                  <a:ext cx="20" cy="53"/>
                </a:xfrm>
                <a:custGeom>
                  <a:avLst/>
                  <a:gdLst>
                    <a:gd name="T0" fmla="*/ 91 w 116"/>
                    <a:gd name="T1" fmla="*/ 0 h 317"/>
                    <a:gd name="T2" fmla="*/ 116 w 116"/>
                    <a:gd name="T3" fmla="*/ 0 h 317"/>
                    <a:gd name="T4" fmla="*/ 116 w 116"/>
                    <a:gd name="T5" fmla="*/ 317 h 317"/>
                    <a:gd name="T6" fmla="*/ 77 w 116"/>
                    <a:gd name="T7" fmla="*/ 317 h 317"/>
                    <a:gd name="T8" fmla="*/ 77 w 116"/>
                    <a:gd name="T9" fmla="*/ 71 h 317"/>
                    <a:gd name="T10" fmla="*/ 62 w 116"/>
                    <a:gd name="T11" fmla="*/ 84 h 317"/>
                    <a:gd name="T12" fmla="*/ 41 w 116"/>
                    <a:gd name="T13" fmla="*/ 97 h 317"/>
                    <a:gd name="T14" fmla="*/ 18 w 116"/>
                    <a:gd name="T15" fmla="*/ 109 h 317"/>
                    <a:gd name="T16" fmla="*/ 0 w 116"/>
                    <a:gd name="T17" fmla="*/ 117 h 317"/>
                    <a:gd name="T18" fmla="*/ 0 w 116"/>
                    <a:gd name="T19" fmla="*/ 79 h 317"/>
                    <a:gd name="T20" fmla="*/ 31 w 116"/>
                    <a:gd name="T21" fmla="*/ 63 h 317"/>
                    <a:gd name="T22" fmla="*/ 57 w 116"/>
                    <a:gd name="T23" fmla="*/ 42 h 317"/>
                    <a:gd name="T24" fmla="*/ 78 w 116"/>
                    <a:gd name="T25" fmla="*/ 21 h 317"/>
                    <a:gd name="T26" fmla="*/ 91 w 116"/>
                    <a:gd name="T27" fmla="*/ 0 h 3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7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7"/>
                      </a:lnTo>
                      <a:lnTo>
                        <a:pt x="77" y="317"/>
                      </a:lnTo>
                      <a:lnTo>
                        <a:pt x="77" y="71"/>
                      </a:lnTo>
                      <a:lnTo>
                        <a:pt x="62" y="84"/>
                      </a:lnTo>
                      <a:lnTo>
                        <a:pt x="41" y="97"/>
                      </a:lnTo>
                      <a:lnTo>
                        <a:pt x="18" y="109"/>
                      </a:lnTo>
                      <a:lnTo>
                        <a:pt x="0" y="117"/>
                      </a:lnTo>
                      <a:lnTo>
                        <a:pt x="0" y="79"/>
                      </a:lnTo>
                      <a:lnTo>
                        <a:pt x="31" y="63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189"/>
                <p:cNvSpPr>
                  <a:spLocks noEditPoints="1"/>
                </p:cNvSpPr>
                <p:nvPr/>
              </p:nvSpPr>
              <p:spPr bwMode="auto">
                <a:xfrm>
                  <a:off x="-701" y="4144"/>
                  <a:ext cx="35" cy="54"/>
                </a:xfrm>
                <a:custGeom>
                  <a:avLst/>
                  <a:gdLst>
                    <a:gd name="T0" fmla="*/ 87 w 207"/>
                    <a:gd name="T1" fmla="*/ 35 h 323"/>
                    <a:gd name="T2" fmla="*/ 60 w 207"/>
                    <a:gd name="T3" fmla="*/ 55 h 323"/>
                    <a:gd name="T4" fmla="*/ 46 w 207"/>
                    <a:gd name="T5" fmla="*/ 96 h 323"/>
                    <a:gd name="T6" fmla="*/ 40 w 207"/>
                    <a:gd name="T7" fmla="*/ 162 h 323"/>
                    <a:gd name="T8" fmla="*/ 44 w 207"/>
                    <a:gd name="T9" fmla="*/ 215 h 323"/>
                    <a:gd name="T10" fmla="*/ 52 w 207"/>
                    <a:gd name="T11" fmla="*/ 253 h 323"/>
                    <a:gd name="T12" fmla="*/ 72 w 207"/>
                    <a:gd name="T13" fmla="*/ 279 h 323"/>
                    <a:gd name="T14" fmla="*/ 103 w 207"/>
                    <a:gd name="T15" fmla="*/ 290 h 323"/>
                    <a:gd name="T16" fmla="*/ 135 w 207"/>
                    <a:gd name="T17" fmla="*/ 279 h 323"/>
                    <a:gd name="T18" fmla="*/ 155 w 207"/>
                    <a:gd name="T19" fmla="*/ 253 h 323"/>
                    <a:gd name="T20" fmla="*/ 164 w 207"/>
                    <a:gd name="T21" fmla="*/ 215 h 323"/>
                    <a:gd name="T22" fmla="*/ 167 w 207"/>
                    <a:gd name="T23" fmla="*/ 162 h 323"/>
                    <a:gd name="T24" fmla="*/ 164 w 207"/>
                    <a:gd name="T25" fmla="*/ 108 h 323"/>
                    <a:gd name="T26" fmla="*/ 155 w 207"/>
                    <a:gd name="T27" fmla="*/ 71 h 323"/>
                    <a:gd name="T28" fmla="*/ 135 w 207"/>
                    <a:gd name="T29" fmla="*/ 44 h 323"/>
                    <a:gd name="T30" fmla="*/ 103 w 207"/>
                    <a:gd name="T31" fmla="*/ 32 h 323"/>
                    <a:gd name="T32" fmla="*/ 128 w 207"/>
                    <a:gd name="T33" fmla="*/ 4 h 323"/>
                    <a:gd name="T34" fmla="*/ 166 w 207"/>
                    <a:gd name="T35" fmla="*/ 23 h 323"/>
                    <a:gd name="T36" fmla="*/ 192 w 207"/>
                    <a:gd name="T37" fmla="*/ 62 h 323"/>
                    <a:gd name="T38" fmla="*/ 204 w 207"/>
                    <a:gd name="T39" fmla="*/ 108 h 323"/>
                    <a:gd name="T40" fmla="*/ 207 w 207"/>
                    <a:gd name="T41" fmla="*/ 162 h 323"/>
                    <a:gd name="T42" fmla="*/ 203 w 207"/>
                    <a:gd name="T43" fmla="*/ 226 h 323"/>
                    <a:gd name="T44" fmla="*/ 187 w 207"/>
                    <a:gd name="T45" fmla="*/ 272 h 323"/>
                    <a:gd name="T46" fmla="*/ 162 w 207"/>
                    <a:gd name="T47" fmla="*/ 303 h 323"/>
                    <a:gd name="T48" fmla="*/ 125 w 207"/>
                    <a:gd name="T49" fmla="*/ 321 h 323"/>
                    <a:gd name="T50" fmla="*/ 82 w 207"/>
                    <a:gd name="T51" fmla="*/ 321 h 323"/>
                    <a:gd name="T52" fmla="*/ 46 w 207"/>
                    <a:gd name="T53" fmla="*/ 304 h 323"/>
                    <a:gd name="T54" fmla="*/ 20 w 207"/>
                    <a:gd name="T55" fmla="*/ 272 h 323"/>
                    <a:gd name="T56" fmla="*/ 6 w 207"/>
                    <a:gd name="T57" fmla="*/ 224 h 323"/>
                    <a:gd name="T58" fmla="*/ 0 w 207"/>
                    <a:gd name="T59" fmla="*/ 162 h 323"/>
                    <a:gd name="T60" fmla="*/ 6 w 207"/>
                    <a:gd name="T61" fmla="*/ 97 h 323"/>
                    <a:gd name="T62" fmla="*/ 21 w 207"/>
                    <a:gd name="T63" fmla="*/ 51 h 323"/>
                    <a:gd name="T64" fmla="*/ 47 w 207"/>
                    <a:gd name="T65" fmla="*/ 19 h 323"/>
                    <a:gd name="T66" fmla="*/ 82 w 207"/>
                    <a:gd name="T67" fmla="*/ 3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3">
                      <a:moveTo>
                        <a:pt x="103" y="32"/>
                      </a:moveTo>
                      <a:lnTo>
                        <a:pt x="87" y="35"/>
                      </a:lnTo>
                      <a:lnTo>
                        <a:pt x="72" y="43"/>
                      </a:lnTo>
                      <a:lnTo>
                        <a:pt x="60" y="55"/>
                      </a:lnTo>
                      <a:lnTo>
                        <a:pt x="51" y="73"/>
                      </a:lnTo>
                      <a:lnTo>
                        <a:pt x="46" y="96"/>
                      </a:lnTo>
                      <a:lnTo>
                        <a:pt x="41" y="125"/>
                      </a:lnTo>
                      <a:lnTo>
                        <a:pt x="40" y="162"/>
                      </a:lnTo>
                      <a:lnTo>
                        <a:pt x="41" y="190"/>
                      </a:lnTo>
                      <a:lnTo>
                        <a:pt x="44" y="215"/>
                      </a:lnTo>
                      <a:lnTo>
                        <a:pt x="47" y="236"/>
                      </a:lnTo>
                      <a:lnTo>
                        <a:pt x="52" y="253"/>
                      </a:lnTo>
                      <a:lnTo>
                        <a:pt x="59" y="265"/>
                      </a:lnTo>
                      <a:lnTo>
                        <a:pt x="72" y="279"/>
                      </a:lnTo>
                      <a:lnTo>
                        <a:pt x="87" y="288"/>
                      </a:lnTo>
                      <a:lnTo>
                        <a:pt x="103" y="290"/>
                      </a:lnTo>
                      <a:lnTo>
                        <a:pt x="121" y="288"/>
                      </a:lnTo>
                      <a:lnTo>
                        <a:pt x="135" y="279"/>
                      </a:lnTo>
                      <a:lnTo>
                        <a:pt x="149" y="265"/>
                      </a:lnTo>
                      <a:lnTo>
                        <a:pt x="155" y="253"/>
                      </a:lnTo>
                      <a:lnTo>
                        <a:pt x="161" y="236"/>
                      </a:lnTo>
                      <a:lnTo>
                        <a:pt x="164" y="215"/>
                      </a:lnTo>
                      <a:lnTo>
                        <a:pt x="166" y="190"/>
                      </a:lnTo>
                      <a:lnTo>
                        <a:pt x="167" y="162"/>
                      </a:lnTo>
                      <a:lnTo>
                        <a:pt x="166" y="132"/>
                      </a:lnTo>
                      <a:lnTo>
                        <a:pt x="164" y="108"/>
                      </a:lnTo>
                      <a:lnTo>
                        <a:pt x="161" y="87"/>
                      </a:lnTo>
                      <a:lnTo>
                        <a:pt x="155" y="71"/>
                      </a:lnTo>
                      <a:lnTo>
                        <a:pt x="149" y="58"/>
                      </a:lnTo>
                      <a:lnTo>
                        <a:pt x="135" y="44"/>
                      </a:lnTo>
                      <a:lnTo>
                        <a:pt x="121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8" y="4"/>
                      </a:lnTo>
                      <a:lnTo>
                        <a:pt x="149" y="11"/>
                      </a:lnTo>
                      <a:lnTo>
                        <a:pt x="166" y="23"/>
                      </a:lnTo>
                      <a:lnTo>
                        <a:pt x="181" y="40"/>
                      </a:lnTo>
                      <a:lnTo>
                        <a:pt x="192" y="62"/>
                      </a:lnTo>
                      <a:lnTo>
                        <a:pt x="201" y="87"/>
                      </a:lnTo>
                      <a:lnTo>
                        <a:pt x="204" y="108"/>
                      </a:lnTo>
                      <a:lnTo>
                        <a:pt x="206" y="133"/>
                      </a:lnTo>
                      <a:lnTo>
                        <a:pt x="207" y="162"/>
                      </a:lnTo>
                      <a:lnTo>
                        <a:pt x="206" y="196"/>
                      </a:lnTo>
                      <a:lnTo>
                        <a:pt x="203" y="226"/>
                      </a:lnTo>
                      <a:lnTo>
                        <a:pt x="196" y="251"/>
                      </a:lnTo>
                      <a:lnTo>
                        <a:pt x="187" y="272"/>
                      </a:lnTo>
                      <a:lnTo>
                        <a:pt x="175" y="290"/>
                      </a:lnTo>
                      <a:lnTo>
                        <a:pt x="162" y="303"/>
                      </a:lnTo>
                      <a:lnTo>
                        <a:pt x="145" y="314"/>
                      </a:lnTo>
                      <a:lnTo>
                        <a:pt x="125" y="321"/>
                      </a:lnTo>
                      <a:lnTo>
                        <a:pt x="103" y="323"/>
                      </a:lnTo>
                      <a:lnTo>
                        <a:pt x="82" y="321"/>
                      </a:lnTo>
                      <a:lnTo>
                        <a:pt x="62" y="314"/>
                      </a:lnTo>
                      <a:lnTo>
                        <a:pt x="46" y="304"/>
                      </a:lnTo>
                      <a:lnTo>
                        <a:pt x="31" y="290"/>
                      </a:lnTo>
                      <a:lnTo>
                        <a:pt x="20" y="272"/>
                      </a:lnTo>
                      <a:lnTo>
                        <a:pt x="11" y="250"/>
                      </a:lnTo>
                      <a:lnTo>
                        <a:pt x="6" y="224"/>
                      </a:lnTo>
                      <a:lnTo>
                        <a:pt x="2" y="194"/>
                      </a:lnTo>
                      <a:lnTo>
                        <a:pt x="0" y="162"/>
                      </a:lnTo>
                      <a:lnTo>
                        <a:pt x="2" y="126"/>
                      </a:lnTo>
                      <a:lnTo>
                        <a:pt x="6" y="97"/>
                      </a:lnTo>
                      <a:lnTo>
                        <a:pt x="11" y="72"/>
                      </a:lnTo>
                      <a:lnTo>
                        <a:pt x="21" y="51"/>
                      </a:lnTo>
                      <a:lnTo>
                        <a:pt x="32" y="33"/>
                      </a:lnTo>
                      <a:lnTo>
                        <a:pt x="47" y="19"/>
                      </a:lnTo>
                      <a:lnTo>
                        <a:pt x="62" y="9"/>
                      </a:lnTo>
                      <a:lnTo>
                        <a:pt x="82" y="3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190"/>
                <p:cNvSpPr>
                  <a:spLocks noEditPoints="1"/>
                </p:cNvSpPr>
                <p:nvPr/>
              </p:nvSpPr>
              <p:spPr bwMode="auto">
                <a:xfrm>
                  <a:off x="-818" y="4232"/>
                  <a:ext cx="34" cy="54"/>
                </a:xfrm>
                <a:custGeom>
                  <a:avLst/>
                  <a:gdLst>
                    <a:gd name="T0" fmla="*/ 86 w 207"/>
                    <a:gd name="T1" fmla="*/ 34 h 321"/>
                    <a:gd name="T2" fmla="*/ 60 w 207"/>
                    <a:gd name="T3" fmla="*/ 55 h 321"/>
                    <a:gd name="T4" fmla="*/ 44 w 207"/>
                    <a:gd name="T5" fmla="*/ 95 h 321"/>
                    <a:gd name="T6" fmla="*/ 40 w 207"/>
                    <a:gd name="T7" fmla="*/ 160 h 321"/>
                    <a:gd name="T8" fmla="*/ 43 w 207"/>
                    <a:gd name="T9" fmla="*/ 214 h 321"/>
                    <a:gd name="T10" fmla="*/ 51 w 207"/>
                    <a:gd name="T11" fmla="*/ 251 h 321"/>
                    <a:gd name="T12" fmla="*/ 71 w 207"/>
                    <a:gd name="T13" fmla="*/ 277 h 321"/>
                    <a:gd name="T14" fmla="*/ 103 w 207"/>
                    <a:gd name="T15" fmla="*/ 289 h 321"/>
                    <a:gd name="T16" fmla="*/ 135 w 207"/>
                    <a:gd name="T17" fmla="*/ 277 h 321"/>
                    <a:gd name="T18" fmla="*/ 156 w 207"/>
                    <a:gd name="T19" fmla="*/ 247 h 321"/>
                    <a:gd name="T20" fmla="*/ 166 w 207"/>
                    <a:gd name="T21" fmla="*/ 195 h 321"/>
                    <a:gd name="T22" fmla="*/ 166 w 207"/>
                    <a:gd name="T23" fmla="*/ 131 h 321"/>
                    <a:gd name="T24" fmla="*/ 160 w 207"/>
                    <a:gd name="T25" fmla="*/ 85 h 321"/>
                    <a:gd name="T26" fmla="*/ 148 w 207"/>
                    <a:gd name="T27" fmla="*/ 57 h 321"/>
                    <a:gd name="T28" fmla="*/ 119 w 207"/>
                    <a:gd name="T29" fmla="*/ 34 h 321"/>
                    <a:gd name="T30" fmla="*/ 103 w 207"/>
                    <a:gd name="T31" fmla="*/ 0 h 321"/>
                    <a:gd name="T32" fmla="*/ 135 w 207"/>
                    <a:gd name="T33" fmla="*/ 4 h 321"/>
                    <a:gd name="T34" fmla="*/ 166 w 207"/>
                    <a:gd name="T35" fmla="*/ 22 h 321"/>
                    <a:gd name="T36" fmla="*/ 191 w 207"/>
                    <a:gd name="T37" fmla="*/ 60 h 321"/>
                    <a:gd name="T38" fmla="*/ 203 w 207"/>
                    <a:gd name="T39" fmla="*/ 106 h 321"/>
                    <a:gd name="T40" fmla="*/ 207 w 207"/>
                    <a:gd name="T41" fmla="*/ 160 h 321"/>
                    <a:gd name="T42" fmla="*/ 201 w 207"/>
                    <a:gd name="T43" fmla="*/ 225 h 321"/>
                    <a:gd name="T44" fmla="*/ 186 w 207"/>
                    <a:gd name="T45" fmla="*/ 271 h 321"/>
                    <a:gd name="T46" fmla="*/ 160 w 207"/>
                    <a:gd name="T47" fmla="*/ 302 h 321"/>
                    <a:gd name="T48" fmla="*/ 125 w 207"/>
                    <a:gd name="T49" fmla="*/ 319 h 321"/>
                    <a:gd name="T50" fmla="*/ 82 w 207"/>
                    <a:gd name="T51" fmla="*/ 319 h 321"/>
                    <a:gd name="T52" fmla="*/ 45 w 207"/>
                    <a:gd name="T53" fmla="*/ 302 h 321"/>
                    <a:gd name="T54" fmla="*/ 20 w 207"/>
                    <a:gd name="T55" fmla="*/ 271 h 321"/>
                    <a:gd name="T56" fmla="*/ 4 w 207"/>
                    <a:gd name="T57" fmla="*/ 223 h 321"/>
                    <a:gd name="T58" fmla="*/ 0 w 207"/>
                    <a:gd name="T59" fmla="*/ 160 h 321"/>
                    <a:gd name="T60" fmla="*/ 4 w 207"/>
                    <a:gd name="T61" fmla="*/ 95 h 321"/>
                    <a:gd name="T62" fmla="*/ 20 w 207"/>
                    <a:gd name="T63" fmla="*/ 49 h 321"/>
                    <a:gd name="T64" fmla="*/ 45 w 207"/>
                    <a:gd name="T65" fmla="*/ 17 h 321"/>
                    <a:gd name="T66" fmla="*/ 82 w 207"/>
                    <a:gd name="T67" fmla="*/ 2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4" y="95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3" y="214"/>
                      </a:lnTo>
                      <a:lnTo>
                        <a:pt x="46" y="234"/>
                      </a:lnTo>
                      <a:lnTo>
                        <a:pt x="51" y="251"/>
                      </a:lnTo>
                      <a:lnTo>
                        <a:pt x="57" y="263"/>
                      </a:lnTo>
                      <a:lnTo>
                        <a:pt x="71" y="277"/>
                      </a:lnTo>
                      <a:lnTo>
                        <a:pt x="86" y="286"/>
                      </a:lnTo>
                      <a:lnTo>
                        <a:pt x="103" y="289"/>
                      </a:lnTo>
                      <a:lnTo>
                        <a:pt x="120" y="286"/>
                      </a:lnTo>
                      <a:lnTo>
                        <a:pt x="135" y="277"/>
                      </a:lnTo>
                      <a:lnTo>
                        <a:pt x="148" y="263"/>
                      </a:lnTo>
                      <a:lnTo>
                        <a:pt x="156" y="247"/>
                      </a:lnTo>
                      <a:lnTo>
                        <a:pt x="161" y="225"/>
                      </a:lnTo>
                      <a:lnTo>
                        <a:pt x="166" y="195"/>
                      </a:lnTo>
                      <a:lnTo>
                        <a:pt x="167" y="160"/>
                      </a:lnTo>
                      <a:lnTo>
                        <a:pt x="166" y="131"/>
                      </a:lnTo>
                      <a:lnTo>
                        <a:pt x="163" y="106"/>
                      </a:lnTo>
                      <a:lnTo>
                        <a:pt x="160" y="85"/>
                      </a:lnTo>
                      <a:lnTo>
                        <a:pt x="155" y="69"/>
                      </a:lnTo>
                      <a:lnTo>
                        <a:pt x="148" y="57"/>
                      </a:lnTo>
                      <a:lnTo>
                        <a:pt x="135" y="43"/>
                      </a:lnTo>
                      <a:lnTo>
                        <a:pt x="119" y="34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19" y="1"/>
                      </a:lnTo>
                      <a:lnTo>
                        <a:pt x="135" y="4"/>
                      </a:lnTo>
                      <a:lnTo>
                        <a:pt x="148" y="10"/>
                      </a:lnTo>
                      <a:lnTo>
                        <a:pt x="166" y="22"/>
                      </a:lnTo>
                      <a:lnTo>
                        <a:pt x="179" y="39"/>
                      </a:lnTo>
                      <a:lnTo>
                        <a:pt x="191" y="60"/>
                      </a:lnTo>
                      <a:lnTo>
                        <a:pt x="200" y="85"/>
                      </a:lnTo>
                      <a:lnTo>
                        <a:pt x="203" y="106"/>
                      </a:lnTo>
                      <a:lnTo>
                        <a:pt x="205" y="131"/>
                      </a:lnTo>
                      <a:lnTo>
                        <a:pt x="207" y="160"/>
                      </a:lnTo>
                      <a:lnTo>
                        <a:pt x="205" y="195"/>
                      </a:lnTo>
                      <a:lnTo>
                        <a:pt x="201" y="225"/>
                      </a:lnTo>
                      <a:lnTo>
                        <a:pt x="194" y="250"/>
                      </a:lnTo>
                      <a:lnTo>
                        <a:pt x="186" y="271"/>
                      </a:lnTo>
                      <a:lnTo>
                        <a:pt x="175" y="288"/>
                      </a:lnTo>
                      <a:lnTo>
                        <a:pt x="160" y="302"/>
                      </a:lnTo>
                      <a:lnTo>
                        <a:pt x="145" y="312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2" y="319"/>
                      </a:lnTo>
                      <a:lnTo>
                        <a:pt x="62" y="312"/>
                      </a:lnTo>
                      <a:lnTo>
                        <a:pt x="45" y="302"/>
                      </a:lnTo>
                      <a:lnTo>
                        <a:pt x="31" y="288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4" y="223"/>
                      </a:lnTo>
                      <a:lnTo>
                        <a:pt x="1" y="194"/>
                      </a:lnTo>
                      <a:lnTo>
                        <a:pt x="0" y="160"/>
                      </a:lnTo>
                      <a:lnTo>
                        <a:pt x="1" y="125"/>
                      </a:lnTo>
                      <a:lnTo>
                        <a:pt x="4" y="95"/>
                      </a:lnTo>
                      <a:lnTo>
                        <a:pt x="11" y="70"/>
                      </a:lnTo>
                      <a:lnTo>
                        <a:pt x="20" y="49"/>
                      </a:lnTo>
                      <a:lnTo>
                        <a:pt x="32" y="32"/>
                      </a:lnTo>
                      <a:lnTo>
                        <a:pt x="45" y="17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191"/>
                <p:cNvSpPr>
                  <a:spLocks noEditPoints="1"/>
                </p:cNvSpPr>
                <p:nvPr/>
              </p:nvSpPr>
              <p:spPr bwMode="auto">
                <a:xfrm>
                  <a:off x="-777" y="4232"/>
                  <a:ext cx="34" cy="54"/>
                </a:xfrm>
                <a:custGeom>
                  <a:avLst/>
                  <a:gdLst>
                    <a:gd name="T0" fmla="*/ 87 w 207"/>
                    <a:gd name="T1" fmla="*/ 34 h 321"/>
                    <a:gd name="T2" fmla="*/ 60 w 207"/>
                    <a:gd name="T3" fmla="*/ 55 h 321"/>
                    <a:gd name="T4" fmla="*/ 45 w 207"/>
                    <a:gd name="T5" fmla="*/ 95 h 321"/>
                    <a:gd name="T6" fmla="*/ 40 w 207"/>
                    <a:gd name="T7" fmla="*/ 160 h 321"/>
                    <a:gd name="T8" fmla="*/ 44 w 207"/>
                    <a:gd name="T9" fmla="*/ 214 h 321"/>
                    <a:gd name="T10" fmla="*/ 51 w 207"/>
                    <a:gd name="T11" fmla="*/ 251 h 321"/>
                    <a:gd name="T12" fmla="*/ 71 w 207"/>
                    <a:gd name="T13" fmla="*/ 277 h 321"/>
                    <a:gd name="T14" fmla="*/ 103 w 207"/>
                    <a:gd name="T15" fmla="*/ 289 h 321"/>
                    <a:gd name="T16" fmla="*/ 135 w 207"/>
                    <a:gd name="T17" fmla="*/ 277 h 321"/>
                    <a:gd name="T18" fmla="*/ 156 w 207"/>
                    <a:gd name="T19" fmla="*/ 247 h 321"/>
                    <a:gd name="T20" fmla="*/ 166 w 207"/>
                    <a:gd name="T21" fmla="*/ 195 h 321"/>
                    <a:gd name="T22" fmla="*/ 166 w 207"/>
                    <a:gd name="T23" fmla="*/ 131 h 321"/>
                    <a:gd name="T24" fmla="*/ 161 w 207"/>
                    <a:gd name="T25" fmla="*/ 85 h 321"/>
                    <a:gd name="T26" fmla="*/ 149 w 207"/>
                    <a:gd name="T27" fmla="*/ 57 h 321"/>
                    <a:gd name="T28" fmla="*/ 121 w 207"/>
                    <a:gd name="T29" fmla="*/ 34 h 321"/>
                    <a:gd name="T30" fmla="*/ 103 w 207"/>
                    <a:gd name="T31" fmla="*/ 0 h 321"/>
                    <a:gd name="T32" fmla="*/ 149 w 207"/>
                    <a:gd name="T33" fmla="*/ 10 h 321"/>
                    <a:gd name="T34" fmla="*/ 181 w 207"/>
                    <a:gd name="T35" fmla="*/ 39 h 321"/>
                    <a:gd name="T36" fmla="*/ 199 w 207"/>
                    <a:gd name="T37" fmla="*/ 85 h 321"/>
                    <a:gd name="T38" fmla="*/ 206 w 207"/>
                    <a:gd name="T39" fmla="*/ 131 h 321"/>
                    <a:gd name="T40" fmla="*/ 206 w 207"/>
                    <a:gd name="T41" fmla="*/ 195 h 321"/>
                    <a:gd name="T42" fmla="*/ 195 w 207"/>
                    <a:gd name="T43" fmla="*/ 250 h 321"/>
                    <a:gd name="T44" fmla="*/ 175 w 207"/>
                    <a:gd name="T45" fmla="*/ 288 h 321"/>
                    <a:gd name="T46" fmla="*/ 144 w 207"/>
                    <a:gd name="T47" fmla="*/ 312 h 321"/>
                    <a:gd name="T48" fmla="*/ 103 w 207"/>
                    <a:gd name="T49" fmla="*/ 321 h 321"/>
                    <a:gd name="T50" fmla="*/ 62 w 207"/>
                    <a:gd name="T51" fmla="*/ 312 h 321"/>
                    <a:gd name="T52" fmla="*/ 31 w 207"/>
                    <a:gd name="T53" fmla="*/ 288 h 321"/>
                    <a:gd name="T54" fmla="*/ 11 w 207"/>
                    <a:gd name="T55" fmla="*/ 249 h 321"/>
                    <a:gd name="T56" fmla="*/ 2 w 207"/>
                    <a:gd name="T57" fmla="*/ 194 h 321"/>
                    <a:gd name="T58" fmla="*/ 2 w 207"/>
                    <a:gd name="T59" fmla="*/ 125 h 321"/>
                    <a:gd name="T60" fmla="*/ 11 w 207"/>
                    <a:gd name="T61" fmla="*/ 70 h 321"/>
                    <a:gd name="T62" fmla="*/ 32 w 207"/>
                    <a:gd name="T63" fmla="*/ 32 h 321"/>
                    <a:gd name="T64" fmla="*/ 62 w 207"/>
                    <a:gd name="T65" fmla="*/ 8 h 321"/>
                    <a:gd name="T66" fmla="*/ 103 w 207"/>
                    <a:gd name="T67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7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5" y="95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4" y="214"/>
                      </a:lnTo>
                      <a:lnTo>
                        <a:pt x="47" y="234"/>
                      </a:lnTo>
                      <a:lnTo>
                        <a:pt x="51" y="251"/>
                      </a:lnTo>
                      <a:lnTo>
                        <a:pt x="58" y="263"/>
                      </a:lnTo>
                      <a:lnTo>
                        <a:pt x="71" y="277"/>
                      </a:lnTo>
                      <a:lnTo>
                        <a:pt x="87" y="286"/>
                      </a:lnTo>
                      <a:lnTo>
                        <a:pt x="103" y="289"/>
                      </a:lnTo>
                      <a:lnTo>
                        <a:pt x="121" y="286"/>
                      </a:lnTo>
                      <a:lnTo>
                        <a:pt x="135" y="277"/>
                      </a:lnTo>
                      <a:lnTo>
                        <a:pt x="149" y="263"/>
                      </a:lnTo>
                      <a:lnTo>
                        <a:pt x="156" y="247"/>
                      </a:lnTo>
                      <a:lnTo>
                        <a:pt x="162" y="225"/>
                      </a:lnTo>
                      <a:lnTo>
                        <a:pt x="166" y="195"/>
                      </a:lnTo>
                      <a:lnTo>
                        <a:pt x="167" y="160"/>
                      </a:lnTo>
                      <a:lnTo>
                        <a:pt x="166" y="131"/>
                      </a:lnTo>
                      <a:lnTo>
                        <a:pt x="164" y="106"/>
                      </a:lnTo>
                      <a:lnTo>
                        <a:pt x="161" y="85"/>
                      </a:lnTo>
                      <a:lnTo>
                        <a:pt x="155" y="69"/>
                      </a:lnTo>
                      <a:lnTo>
                        <a:pt x="149" y="57"/>
                      </a:lnTo>
                      <a:lnTo>
                        <a:pt x="135" y="43"/>
                      </a:lnTo>
                      <a:lnTo>
                        <a:pt x="121" y="34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8" y="2"/>
                      </a:lnTo>
                      <a:lnTo>
                        <a:pt x="149" y="10"/>
                      </a:lnTo>
                      <a:lnTo>
                        <a:pt x="166" y="22"/>
                      </a:lnTo>
                      <a:lnTo>
                        <a:pt x="181" y="39"/>
                      </a:lnTo>
                      <a:lnTo>
                        <a:pt x="192" y="60"/>
                      </a:lnTo>
                      <a:lnTo>
                        <a:pt x="199" y="85"/>
                      </a:lnTo>
                      <a:lnTo>
                        <a:pt x="204" y="106"/>
                      </a:lnTo>
                      <a:lnTo>
                        <a:pt x="206" y="131"/>
                      </a:lnTo>
                      <a:lnTo>
                        <a:pt x="207" y="160"/>
                      </a:lnTo>
                      <a:lnTo>
                        <a:pt x="206" y="195"/>
                      </a:lnTo>
                      <a:lnTo>
                        <a:pt x="202" y="225"/>
                      </a:lnTo>
                      <a:lnTo>
                        <a:pt x="195" y="250"/>
                      </a:lnTo>
                      <a:lnTo>
                        <a:pt x="186" y="271"/>
                      </a:lnTo>
                      <a:lnTo>
                        <a:pt x="175" y="288"/>
                      </a:lnTo>
                      <a:lnTo>
                        <a:pt x="161" y="302"/>
                      </a:lnTo>
                      <a:lnTo>
                        <a:pt x="144" y="312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1" y="319"/>
                      </a:lnTo>
                      <a:lnTo>
                        <a:pt x="62" y="312"/>
                      </a:lnTo>
                      <a:lnTo>
                        <a:pt x="46" y="302"/>
                      </a:lnTo>
                      <a:lnTo>
                        <a:pt x="31" y="288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5" y="223"/>
                      </a:lnTo>
                      <a:lnTo>
                        <a:pt x="2" y="194"/>
                      </a:lnTo>
                      <a:lnTo>
                        <a:pt x="0" y="160"/>
                      </a:lnTo>
                      <a:lnTo>
                        <a:pt x="2" y="125"/>
                      </a:lnTo>
                      <a:lnTo>
                        <a:pt x="5" y="95"/>
                      </a:lnTo>
                      <a:lnTo>
                        <a:pt x="11" y="70"/>
                      </a:lnTo>
                      <a:lnTo>
                        <a:pt x="20" y="49"/>
                      </a:lnTo>
                      <a:lnTo>
                        <a:pt x="32" y="32"/>
                      </a:lnTo>
                      <a:lnTo>
                        <a:pt x="46" y="17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0" name="Freeform 192"/>
                <p:cNvSpPr>
                  <a:spLocks noEditPoints="1"/>
                </p:cNvSpPr>
                <p:nvPr/>
              </p:nvSpPr>
              <p:spPr bwMode="auto">
                <a:xfrm>
                  <a:off x="-736" y="4232"/>
                  <a:ext cx="34" cy="54"/>
                </a:xfrm>
                <a:custGeom>
                  <a:avLst/>
                  <a:gdLst>
                    <a:gd name="T0" fmla="*/ 86 w 207"/>
                    <a:gd name="T1" fmla="*/ 34 h 321"/>
                    <a:gd name="T2" fmla="*/ 60 w 207"/>
                    <a:gd name="T3" fmla="*/ 55 h 321"/>
                    <a:gd name="T4" fmla="*/ 48 w 207"/>
                    <a:gd name="T5" fmla="*/ 84 h 321"/>
                    <a:gd name="T6" fmla="*/ 41 w 207"/>
                    <a:gd name="T7" fmla="*/ 131 h 321"/>
                    <a:gd name="T8" fmla="*/ 41 w 207"/>
                    <a:gd name="T9" fmla="*/ 190 h 321"/>
                    <a:gd name="T10" fmla="*/ 46 w 207"/>
                    <a:gd name="T11" fmla="*/ 234 h 321"/>
                    <a:gd name="T12" fmla="*/ 57 w 207"/>
                    <a:gd name="T13" fmla="*/ 263 h 321"/>
                    <a:gd name="T14" fmla="*/ 86 w 207"/>
                    <a:gd name="T15" fmla="*/ 286 h 321"/>
                    <a:gd name="T16" fmla="*/ 121 w 207"/>
                    <a:gd name="T17" fmla="*/ 286 h 321"/>
                    <a:gd name="T18" fmla="*/ 148 w 207"/>
                    <a:gd name="T19" fmla="*/ 263 h 321"/>
                    <a:gd name="T20" fmla="*/ 161 w 207"/>
                    <a:gd name="T21" fmla="*/ 225 h 321"/>
                    <a:gd name="T22" fmla="*/ 167 w 207"/>
                    <a:gd name="T23" fmla="*/ 160 h 321"/>
                    <a:gd name="T24" fmla="*/ 163 w 207"/>
                    <a:gd name="T25" fmla="*/ 95 h 321"/>
                    <a:gd name="T26" fmla="*/ 148 w 207"/>
                    <a:gd name="T27" fmla="*/ 57 h 321"/>
                    <a:gd name="T28" fmla="*/ 121 w 207"/>
                    <a:gd name="T29" fmla="*/ 34 h 321"/>
                    <a:gd name="T30" fmla="*/ 103 w 207"/>
                    <a:gd name="T31" fmla="*/ 0 h 321"/>
                    <a:gd name="T32" fmla="*/ 148 w 207"/>
                    <a:gd name="T33" fmla="*/ 10 h 321"/>
                    <a:gd name="T34" fmla="*/ 179 w 207"/>
                    <a:gd name="T35" fmla="*/ 39 h 321"/>
                    <a:gd name="T36" fmla="*/ 199 w 207"/>
                    <a:gd name="T37" fmla="*/ 85 h 321"/>
                    <a:gd name="T38" fmla="*/ 206 w 207"/>
                    <a:gd name="T39" fmla="*/ 131 h 321"/>
                    <a:gd name="T40" fmla="*/ 206 w 207"/>
                    <a:gd name="T41" fmla="*/ 195 h 321"/>
                    <a:gd name="T42" fmla="*/ 195 w 207"/>
                    <a:gd name="T43" fmla="*/ 250 h 321"/>
                    <a:gd name="T44" fmla="*/ 175 w 207"/>
                    <a:gd name="T45" fmla="*/ 288 h 321"/>
                    <a:gd name="T46" fmla="*/ 144 w 207"/>
                    <a:gd name="T47" fmla="*/ 312 h 321"/>
                    <a:gd name="T48" fmla="*/ 103 w 207"/>
                    <a:gd name="T49" fmla="*/ 321 h 321"/>
                    <a:gd name="T50" fmla="*/ 62 w 207"/>
                    <a:gd name="T51" fmla="*/ 312 h 321"/>
                    <a:gd name="T52" fmla="*/ 31 w 207"/>
                    <a:gd name="T53" fmla="*/ 288 h 321"/>
                    <a:gd name="T54" fmla="*/ 11 w 207"/>
                    <a:gd name="T55" fmla="*/ 249 h 321"/>
                    <a:gd name="T56" fmla="*/ 1 w 207"/>
                    <a:gd name="T57" fmla="*/ 194 h 321"/>
                    <a:gd name="T58" fmla="*/ 1 w 207"/>
                    <a:gd name="T59" fmla="*/ 125 h 321"/>
                    <a:gd name="T60" fmla="*/ 11 w 207"/>
                    <a:gd name="T61" fmla="*/ 70 h 321"/>
                    <a:gd name="T62" fmla="*/ 32 w 207"/>
                    <a:gd name="T63" fmla="*/ 32 h 321"/>
                    <a:gd name="T64" fmla="*/ 62 w 207"/>
                    <a:gd name="T65" fmla="*/ 8 h 321"/>
                    <a:gd name="T66" fmla="*/ 103 w 207"/>
                    <a:gd name="T67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3" y="68"/>
                      </a:lnTo>
                      <a:lnTo>
                        <a:pt x="48" y="84"/>
                      </a:lnTo>
                      <a:lnTo>
                        <a:pt x="43" y="106"/>
                      </a:lnTo>
                      <a:lnTo>
                        <a:pt x="41" y="131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3" y="214"/>
                      </a:lnTo>
                      <a:lnTo>
                        <a:pt x="46" y="234"/>
                      </a:lnTo>
                      <a:lnTo>
                        <a:pt x="51" y="251"/>
                      </a:lnTo>
                      <a:lnTo>
                        <a:pt x="57" y="263"/>
                      </a:lnTo>
                      <a:lnTo>
                        <a:pt x="71" y="277"/>
                      </a:lnTo>
                      <a:lnTo>
                        <a:pt x="86" y="286"/>
                      </a:lnTo>
                      <a:lnTo>
                        <a:pt x="103" y="289"/>
                      </a:lnTo>
                      <a:lnTo>
                        <a:pt x="121" y="286"/>
                      </a:lnTo>
                      <a:lnTo>
                        <a:pt x="135" y="277"/>
                      </a:lnTo>
                      <a:lnTo>
                        <a:pt x="148" y="263"/>
                      </a:lnTo>
                      <a:lnTo>
                        <a:pt x="156" y="247"/>
                      </a:lnTo>
                      <a:lnTo>
                        <a:pt x="161" y="225"/>
                      </a:lnTo>
                      <a:lnTo>
                        <a:pt x="166" y="195"/>
                      </a:lnTo>
                      <a:lnTo>
                        <a:pt x="167" y="160"/>
                      </a:lnTo>
                      <a:lnTo>
                        <a:pt x="166" y="125"/>
                      </a:lnTo>
                      <a:lnTo>
                        <a:pt x="163" y="95"/>
                      </a:lnTo>
                      <a:lnTo>
                        <a:pt x="156" y="73"/>
                      </a:lnTo>
                      <a:lnTo>
                        <a:pt x="148" y="57"/>
                      </a:lnTo>
                      <a:lnTo>
                        <a:pt x="135" y="43"/>
                      </a:lnTo>
                      <a:lnTo>
                        <a:pt x="121" y="34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7" y="2"/>
                      </a:lnTo>
                      <a:lnTo>
                        <a:pt x="148" y="10"/>
                      </a:lnTo>
                      <a:lnTo>
                        <a:pt x="166" y="22"/>
                      </a:lnTo>
                      <a:lnTo>
                        <a:pt x="179" y="39"/>
                      </a:lnTo>
                      <a:lnTo>
                        <a:pt x="191" y="60"/>
                      </a:lnTo>
                      <a:lnTo>
                        <a:pt x="199" y="85"/>
                      </a:lnTo>
                      <a:lnTo>
                        <a:pt x="203" y="106"/>
                      </a:lnTo>
                      <a:lnTo>
                        <a:pt x="206" y="131"/>
                      </a:lnTo>
                      <a:lnTo>
                        <a:pt x="207" y="160"/>
                      </a:lnTo>
                      <a:lnTo>
                        <a:pt x="206" y="195"/>
                      </a:lnTo>
                      <a:lnTo>
                        <a:pt x="201" y="225"/>
                      </a:lnTo>
                      <a:lnTo>
                        <a:pt x="195" y="250"/>
                      </a:lnTo>
                      <a:lnTo>
                        <a:pt x="186" y="271"/>
                      </a:lnTo>
                      <a:lnTo>
                        <a:pt x="175" y="288"/>
                      </a:lnTo>
                      <a:lnTo>
                        <a:pt x="160" y="302"/>
                      </a:lnTo>
                      <a:lnTo>
                        <a:pt x="144" y="312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1" y="319"/>
                      </a:lnTo>
                      <a:lnTo>
                        <a:pt x="62" y="312"/>
                      </a:lnTo>
                      <a:lnTo>
                        <a:pt x="45" y="302"/>
                      </a:lnTo>
                      <a:lnTo>
                        <a:pt x="31" y="288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4" y="223"/>
                      </a:lnTo>
                      <a:lnTo>
                        <a:pt x="1" y="194"/>
                      </a:lnTo>
                      <a:lnTo>
                        <a:pt x="0" y="160"/>
                      </a:lnTo>
                      <a:lnTo>
                        <a:pt x="1" y="125"/>
                      </a:lnTo>
                      <a:lnTo>
                        <a:pt x="4" y="95"/>
                      </a:lnTo>
                      <a:lnTo>
                        <a:pt x="11" y="70"/>
                      </a:lnTo>
                      <a:lnTo>
                        <a:pt x="20" y="49"/>
                      </a:lnTo>
                      <a:lnTo>
                        <a:pt x="32" y="32"/>
                      </a:lnTo>
                      <a:lnTo>
                        <a:pt x="45" y="17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193"/>
                <p:cNvSpPr>
                  <a:spLocks/>
                </p:cNvSpPr>
                <p:nvPr/>
              </p:nvSpPr>
              <p:spPr bwMode="auto">
                <a:xfrm>
                  <a:off x="-690" y="4232"/>
                  <a:ext cx="19" cy="53"/>
                </a:xfrm>
                <a:custGeom>
                  <a:avLst/>
                  <a:gdLst>
                    <a:gd name="T0" fmla="*/ 92 w 117"/>
                    <a:gd name="T1" fmla="*/ 0 h 316"/>
                    <a:gd name="T2" fmla="*/ 117 w 117"/>
                    <a:gd name="T3" fmla="*/ 0 h 316"/>
                    <a:gd name="T4" fmla="*/ 117 w 117"/>
                    <a:gd name="T5" fmla="*/ 316 h 316"/>
                    <a:gd name="T6" fmla="*/ 78 w 117"/>
                    <a:gd name="T7" fmla="*/ 316 h 316"/>
                    <a:gd name="T8" fmla="*/ 78 w 117"/>
                    <a:gd name="T9" fmla="*/ 69 h 316"/>
                    <a:gd name="T10" fmla="*/ 62 w 117"/>
                    <a:gd name="T11" fmla="*/ 82 h 316"/>
                    <a:gd name="T12" fmla="*/ 41 w 117"/>
                    <a:gd name="T13" fmla="*/ 95 h 316"/>
                    <a:gd name="T14" fmla="*/ 19 w 117"/>
                    <a:gd name="T15" fmla="*/ 107 h 316"/>
                    <a:gd name="T16" fmla="*/ 0 w 117"/>
                    <a:gd name="T17" fmla="*/ 116 h 316"/>
                    <a:gd name="T18" fmla="*/ 0 w 117"/>
                    <a:gd name="T19" fmla="*/ 79 h 316"/>
                    <a:gd name="T20" fmla="*/ 30 w 117"/>
                    <a:gd name="T21" fmla="*/ 61 h 316"/>
                    <a:gd name="T22" fmla="*/ 57 w 117"/>
                    <a:gd name="T23" fmla="*/ 42 h 316"/>
                    <a:gd name="T24" fmla="*/ 78 w 117"/>
                    <a:gd name="T25" fmla="*/ 20 h 316"/>
                    <a:gd name="T26" fmla="*/ 92 w 117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7" h="316">
                      <a:moveTo>
                        <a:pt x="92" y="0"/>
                      </a:moveTo>
                      <a:lnTo>
                        <a:pt x="117" y="0"/>
                      </a:lnTo>
                      <a:lnTo>
                        <a:pt x="117" y="316"/>
                      </a:lnTo>
                      <a:lnTo>
                        <a:pt x="78" y="316"/>
                      </a:lnTo>
                      <a:lnTo>
                        <a:pt x="78" y="69"/>
                      </a:lnTo>
                      <a:lnTo>
                        <a:pt x="62" y="82"/>
                      </a:lnTo>
                      <a:lnTo>
                        <a:pt x="41" y="95"/>
                      </a:lnTo>
                      <a:lnTo>
                        <a:pt x="19" y="107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0" y="61"/>
                      </a:lnTo>
                      <a:lnTo>
                        <a:pt x="57" y="42"/>
                      </a:lnTo>
                      <a:lnTo>
                        <a:pt x="78" y="20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194"/>
                <p:cNvSpPr>
                  <a:spLocks/>
                </p:cNvSpPr>
                <p:nvPr/>
              </p:nvSpPr>
              <p:spPr bwMode="auto">
                <a:xfrm>
                  <a:off x="-645" y="4318"/>
                  <a:ext cx="19" cy="52"/>
                </a:xfrm>
                <a:custGeom>
                  <a:avLst/>
                  <a:gdLst>
                    <a:gd name="T0" fmla="*/ 92 w 117"/>
                    <a:gd name="T1" fmla="*/ 0 h 316"/>
                    <a:gd name="T2" fmla="*/ 117 w 117"/>
                    <a:gd name="T3" fmla="*/ 0 h 316"/>
                    <a:gd name="T4" fmla="*/ 117 w 117"/>
                    <a:gd name="T5" fmla="*/ 316 h 316"/>
                    <a:gd name="T6" fmla="*/ 78 w 117"/>
                    <a:gd name="T7" fmla="*/ 316 h 316"/>
                    <a:gd name="T8" fmla="*/ 78 w 117"/>
                    <a:gd name="T9" fmla="*/ 70 h 316"/>
                    <a:gd name="T10" fmla="*/ 62 w 117"/>
                    <a:gd name="T11" fmla="*/ 83 h 316"/>
                    <a:gd name="T12" fmla="*/ 41 w 117"/>
                    <a:gd name="T13" fmla="*/ 96 h 316"/>
                    <a:gd name="T14" fmla="*/ 20 w 117"/>
                    <a:gd name="T15" fmla="*/ 107 h 316"/>
                    <a:gd name="T16" fmla="*/ 0 w 117"/>
                    <a:gd name="T17" fmla="*/ 116 h 316"/>
                    <a:gd name="T18" fmla="*/ 0 w 117"/>
                    <a:gd name="T19" fmla="*/ 79 h 316"/>
                    <a:gd name="T20" fmla="*/ 31 w 117"/>
                    <a:gd name="T21" fmla="*/ 62 h 316"/>
                    <a:gd name="T22" fmla="*/ 58 w 117"/>
                    <a:gd name="T23" fmla="*/ 42 h 316"/>
                    <a:gd name="T24" fmla="*/ 79 w 117"/>
                    <a:gd name="T25" fmla="*/ 21 h 316"/>
                    <a:gd name="T26" fmla="*/ 92 w 117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7" h="316">
                      <a:moveTo>
                        <a:pt x="92" y="0"/>
                      </a:moveTo>
                      <a:lnTo>
                        <a:pt x="117" y="0"/>
                      </a:lnTo>
                      <a:lnTo>
                        <a:pt x="117" y="316"/>
                      </a:lnTo>
                      <a:lnTo>
                        <a:pt x="78" y="316"/>
                      </a:lnTo>
                      <a:lnTo>
                        <a:pt x="78" y="70"/>
                      </a:lnTo>
                      <a:lnTo>
                        <a:pt x="62" y="83"/>
                      </a:lnTo>
                      <a:lnTo>
                        <a:pt x="41" y="96"/>
                      </a:lnTo>
                      <a:lnTo>
                        <a:pt x="20" y="107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1" y="62"/>
                      </a:lnTo>
                      <a:lnTo>
                        <a:pt x="58" y="42"/>
                      </a:lnTo>
                      <a:lnTo>
                        <a:pt x="79" y="21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195"/>
                <p:cNvSpPr>
                  <a:spLocks noEditPoints="1"/>
                </p:cNvSpPr>
                <p:nvPr/>
              </p:nvSpPr>
              <p:spPr bwMode="auto">
                <a:xfrm>
                  <a:off x="-818" y="4320"/>
                  <a:ext cx="34" cy="54"/>
                </a:xfrm>
                <a:custGeom>
                  <a:avLst/>
                  <a:gdLst>
                    <a:gd name="T0" fmla="*/ 86 w 207"/>
                    <a:gd name="T1" fmla="*/ 34 h 321"/>
                    <a:gd name="T2" fmla="*/ 60 w 207"/>
                    <a:gd name="T3" fmla="*/ 55 h 321"/>
                    <a:gd name="T4" fmla="*/ 44 w 207"/>
                    <a:gd name="T5" fmla="*/ 96 h 321"/>
                    <a:gd name="T6" fmla="*/ 40 w 207"/>
                    <a:gd name="T7" fmla="*/ 160 h 321"/>
                    <a:gd name="T8" fmla="*/ 43 w 207"/>
                    <a:gd name="T9" fmla="*/ 214 h 321"/>
                    <a:gd name="T10" fmla="*/ 51 w 207"/>
                    <a:gd name="T11" fmla="*/ 251 h 321"/>
                    <a:gd name="T12" fmla="*/ 71 w 207"/>
                    <a:gd name="T13" fmla="*/ 279 h 321"/>
                    <a:gd name="T14" fmla="*/ 103 w 207"/>
                    <a:gd name="T15" fmla="*/ 290 h 321"/>
                    <a:gd name="T16" fmla="*/ 135 w 207"/>
                    <a:gd name="T17" fmla="*/ 279 h 321"/>
                    <a:gd name="T18" fmla="*/ 155 w 207"/>
                    <a:gd name="T19" fmla="*/ 251 h 321"/>
                    <a:gd name="T20" fmla="*/ 163 w 207"/>
                    <a:gd name="T21" fmla="*/ 214 h 321"/>
                    <a:gd name="T22" fmla="*/ 167 w 207"/>
                    <a:gd name="T23" fmla="*/ 160 h 321"/>
                    <a:gd name="T24" fmla="*/ 163 w 207"/>
                    <a:gd name="T25" fmla="*/ 107 h 321"/>
                    <a:gd name="T26" fmla="*/ 155 w 207"/>
                    <a:gd name="T27" fmla="*/ 69 h 321"/>
                    <a:gd name="T28" fmla="*/ 135 w 207"/>
                    <a:gd name="T29" fmla="*/ 43 h 321"/>
                    <a:gd name="T30" fmla="*/ 103 w 207"/>
                    <a:gd name="T31" fmla="*/ 32 h 321"/>
                    <a:gd name="T32" fmla="*/ 119 w 207"/>
                    <a:gd name="T33" fmla="*/ 1 h 321"/>
                    <a:gd name="T34" fmla="*/ 148 w 207"/>
                    <a:gd name="T35" fmla="*/ 10 h 321"/>
                    <a:gd name="T36" fmla="*/ 179 w 207"/>
                    <a:gd name="T37" fmla="*/ 40 h 321"/>
                    <a:gd name="T38" fmla="*/ 200 w 207"/>
                    <a:gd name="T39" fmla="*/ 86 h 321"/>
                    <a:gd name="T40" fmla="*/ 205 w 207"/>
                    <a:gd name="T41" fmla="*/ 132 h 321"/>
                    <a:gd name="T42" fmla="*/ 205 w 207"/>
                    <a:gd name="T43" fmla="*/ 195 h 321"/>
                    <a:gd name="T44" fmla="*/ 194 w 207"/>
                    <a:gd name="T45" fmla="*/ 250 h 321"/>
                    <a:gd name="T46" fmla="*/ 175 w 207"/>
                    <a:gd name="T47" fmla="*/ 289 h 321"/>
                    <a:gd name="T48" fmla="*/ 145 w 207"/>
                    <a:gd name="T49" fmla="*/ 313 h 321"/>
                    <a:gd name="T50" fmla="*/ 103 w 207"/>
                    <a:gd name="T51" fmla="*/ 321 h 321"/>
                    <a:gd name="T52" fmla="*/ 62 w 207"/>
                    <a:gd name="T53" fmla="*/ 313 h 321"/>
                    <a:gd name="T54" fmla="*/ 31 w 207"/>
                    <a:gd name="T55" fmla="*/ 289 h 321"/>
                    <a:gd name="T56" fmla="*/ 11 w 207"/>
                    <a:gd name="T57" fmla="*/ 249 h 321"/>
                    <a:gd name="T58" fmla="*/ 1 w 207"/>
                    <a:gd name="T59" fmla="*/ 194 h 321"/>
                    <a:gd name="T60" fmla="*/ 1 w 207"/>
                    <a:gd name="T61" fmla="*/ 126 h 321"/>
                    <a:gd name="T62" fmla="*/ 11 w 207"/>
                    <a:gd name="T63" fmla="*/ 70 h 321"/>
                    <a:gd name="T64" fmla="*/ 32 w 207"/>
                    <a:gd name="T65" fmla="*/ 32 h 321"/>
                    <a:gd name="T66" fmla="*/ 62 w 207"/>
                    <a:gd name="T67" fmla="*/ 8 h 321"/>
                    <a:gd name="T68" fmla="*/ 103 w 207"/>
                    <a:gd name="T69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4" y="96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3" y="214"/>
                      </a:lnTo>
                      <a:lnTo>
                        <a:pt x="46" y="235"/>
                      </a:lnTo>
                      <a:lnTo>
                        <a:pt x="51" y="251"/>
                      </a:lnTo>
                      <a:lnTo>
                        <a:pt x="57" y="264"/>
                      </a:lnTo>
                      <a:lnTo>
                        <a:pt x="71" y="279"/>
                      </a:lnTo>
                      <a:lnTo>
                        <a:pt x="86" y="286"/>
                      </a:lnTo>
                      <a:lnTo>
                        <a:pt x="103" y="290"/>
                      </a:lnTo>
                      <a:lnTo>
                        <a:pt x="120" y="286"/>
                      </a:lnTo>
                      <a:lnTo>
                        <a:pt x="135" y="279"/>
                      </a:lnTo>
                      <a:lnTo>
                        <a:pt x="148" y="264"/>
                      </a:lnTo>
                      <a:lnTo>
                        <a:pt x="155" y="251"/>
                      </a:lnTo>
                      <a:lnTo>
                        <a:pt x="160" y="235"/>
                      </a:lnTo>
                      <a:lnTo>
                        <a:pt x="163" y="214"/>
                      </a:lnTo>
                      <a:lnTo>
                        <a:pt x="166" y="190"/>
                      </a:lnTo>
                      <a:lnTo>
                        <a:pt x="167" y="160"/>
                      </a:lnTo>
                      <a:lnTo>
                        <a:pt x="166" y="132"/>
                      </a:lnTo>
                      <a:lnTo>
                        <a:pt x="163" y="107"/>
                      </a:lnTo>
                      <a:lnTo>
                        <a:pt x="160" y="86"/>
                      </a:lnTo>
                      <a:lnTo>
                        <a:pt x="155" y="69"/>
                      </a:lnTo>
                      <a:lnTo>
                        <a:pt x="148" y="57"/>
                      </a:lnTo>
                      <a:lnTo>
                        <a:pt x="135" y="43"/>
                      </a:lnTo>
                      <a:lnTo>
                        <a:pt x="119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19" y="1"/>
                      </a:lnTo>
                      <a:lnTo>
                        <a:pt x="135" y="5"/>
                      </a:lnTo>
                      <a:lnTo>
                        <a:pt x="148" y="10"/>
                      </a:lnTo>
                      <a:lnTo>
                        <a:pt x="166" y="22"/>
                      </a:lnTo>
                      <a:lnTo>
                        <a:pt x="179" y="40"/>
                      </a:lnTo>
                      <a:lnTo>
                        <a:pt x="191" y="60"/>
                      </a:lnTo>
                      <a:lnTo>
                        <a:pt x="200" y="86"/>
                      </a:lnTo>
                      <a:lnTo>
                        <a:pt x="203" y="107"/>
                      </a:lnTo>
                      <a:lnTo>
                        <a:pt x="205" y="132"/>
                      </a:lnTo>
                      <a:lnTo>
                        <a:pt x="207" y="160"/>
                      </a:lnTo>
                      <a:lnTo>
                        <a:pt x="205" y="195"/>
                      </a:lnTo>
                      <a:lnTo>
                        <a:pt x="201" y="225"/>
                      </a:lnTo>
                      <a:lnTo>
                        <a:pt x="194" y="250"/>
                      </a:lnTo>
                      <a:lnTo>
                        <a:pt x="186" y="271"/>
                      </a:lnTo>
                      <a:lnTo>
                        <a:pt x="175" y="289"/>
                      </a:lnTo>
                      <a:lnTo>
                        <a:pt x="160" y="303"/>
                      </a:lnTo>
                      <a:lnTo>
                        <a:pt x="145" y="313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2" y="319"/>
                      </a:lnTo>
                      <a:lnTo>
                        <a:pt x="62" y="313"/>
                      </a:lnTo>
                      <a:lnTo>
                        <a:pt x="45" y="303"/>
                      </a:lnTo>
                      <a:lnTo>
                        <a:pt x="31" y="289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4" y="224"/>
                      </a:lnTo>
                      <a:lnTo>
                        <a:pt x="1" y="194"/>
                      </a:lnTo>
                      <a:lnTo>
                        <a:pt x="0" y="160"/>
                      </a:lnTo>
                      <a:lnTo>
                        <a:pt x="1" y="126"/>
                      </a:lnTo>
                      <a:lnTo>
                        <a:pt x="4" y="96"/>
                      </a:lnTo>
                      <a:lnTo>
                        <a:pt x="11" y="70"/>
                      </a:lnTo>
                      <a:lnTo>
                        <a:pt x="20" y="50"/>
                      </a:lnTo>
                      <a:lnTo>
                        <a:pt x="32" y="32"/>
                      </a:lnTo>
                      <a:lnTo>
                        <a:pt x="45" y="19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4" name="Freeform 196"/>
                <p:cNvSpPr>
                  <a:spLocks/>
                </p:cNvSpPr>
                <p:nvPr/>
              </p:nvSpPr>
              <p:spPr bwMode="auto">
                <a:xfrm>
                  <a:off x="-772" y="4320"/>
                  <a:ext cx="19" cy="53"/>
                </a:xfrm>
                <a:custGeom>
                  <a:avLst/>
                  <a:gdLst>
                    <a:gd name="T0" fmla="*/ 91 w 116"/>
                    <a:gd name="T1" fmla="*/ 0 h 316"/>
                    <a:gd name="T2" fmla="*/ 116 w 116"/>
                    <a:gd name="T3" fmla="*/ 0 h 316"/>
                    <a:gd name="T4" fmla="*/ 116 w 116"/>
                    <a:gd name="T5" fmla="*/ 316 h 316"/>
                    <a:gd name="T6" fmla="*/ 78 w 116"/>
                    <a:gd name="T7" fmla="*/ 316 h 316"/>
                    <a:gd name="T8" fmla="*/ 78 w 116"/>
                    <a:gd name="T9" fmla="*/ 70 h 316"/>
                    <a:gd name="T10" fmla="*/ 61 w 116"/>
                    <a:gd name="T11" fmla="*/ 84 h 316"/>
                    <a:gd name="T12" fmla="*/ 41 w 116"/>
                    <a:gd name="T13" fmla="*/ 97 h 316"/>
                    <a:gd name="T14" fmla="*/ 19 w 116"/>
                    <a:gd name="T15" fmla="*/ 108 h 316"/>
                    <a:gd name="T16" fmla="*/ 0 w 116"/>
                    <a:gd name="T17" fmla="*/ 116 h 316"/>
                    <a:gd name="T18" fmla="*/ 0 w 116"/>
                    <a:gd name="T19" fmla="*/ 79 h 316"/>
                    <a:gd name="T20" fmla="*/ 30 w 116"/>
                    <a:gd name="T21" fmla="*/ 62 h 316"/>
                    <a:gd name="T22" fmla="*/ 57 w 116"/>
                    <a:gd name="T23" fmla="*/ 42 h 316"/>
                    <a:gd name="T24" fmla="*/ 78 w 116"/>
                    <a:gd name="T25" fmla="*/ 21 h 316"/>
                    <a:gd name="T26" fmla="*/ 91 w 116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6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6"/>
                      </a:lnTo>
                      <a:lnTo>
                        <a:pt x="78" y="316"/>
                      </a:lnTo>
                      <a:lnTo>
                        <a:pt x="78" y="70"/>
                      </a:lnTo>
                      <a:lnTo>
                        <a:pt x="61" y="84"/>
                      </a:lnTo>
                      <a:lnTo>
                        <a:pt x="41" y="97"/>
                      </a:lnTo>
                      <a:lnTo>
                        <a:pt x="19" y="108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0" y="62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5" name="Freeform 197"/>
                <p:cNvSpPr>
                  <a:spLocks/>
                </p:cNvSpPr>
                <p:nvPr/>
              </p:nvSpPr>
              <p:spPr bwMode="auto">
                <a:xfrm>
                  <a:off x="-737" y="4320"/>
                  <a:ext cx="20" cy="53"/>
                </a:xfrm>
                <a:custGeom>
                  <a:avLst/>
                  <a:gdLst>
                    <a:gd name="T0" fmla="*/ 91 w 117"/>
                    <a:gd name="T1" fmla="*/ 0 h 316"/>
                    <a:gd name="T2" fmla="*/ 117 w 117"/>
                    <a:gd name="T3" fmla="*/ 0 h 316"/>
                    <a:gd name="T4" fmla="*/ 117 w 117"/>
                    <a:gd name="T5" fmla="*/ 316 h 316"/>
                    <a:gd name="T6" fmla="*/ 77 w 117"/>
                    <a:gd name="T7" fmla="*/ 316 h 316"/>
                    <a:gd name="T8" fmla="*/ 77 w 117"/>
                    <a:gd name="T9" fmla="*/ 70 h 316"/>
                    <a:gd name="T10" fmla="*/ 62 w 117"/>
                    <a:gd name="T11" fmla="*/ 84 h 316"/>
                    <a:gd name="T12" fmla="*/ 41 w 117"/>
                    <a:gd name="T13" fmla="*/ 97 h 316"/>
                    <a:gd name="T14" fmla="*/ 18 w 117"/>
                    <a:gd name="T15" fmla="*/ 108 h 316"/>
                    <a:gd name="T16" fmla="*/ 0 w 117"/>
                    <a:gd name="T17" fmla="*/ 116 h 316"/>
                    <a:gd name="T18" fmla="*/ 0 w 117"/>
                    <a:gd name="T19" fmla="*/ 79 h 316"/>
                    <a:gd name="T20" fmla="*/ 31 w 117"/>
                    <a:gd name="T21" fmla="*/ 62 h 316"/>
                    <a:gd name="T22" fmla="*/ 57 w 117"/>
                    <a:gd name="T23" fmla="*/ 42 h 316"/>
                    <a:gd name="T24" fmla="*/ 78 w 117"/>
                    <a:gd name="T25" fmla="*/ 21 h 316"/>
                    <a:gd name="T26" fmla="*/ 91 w 117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7" h="316">
                      <a:moveTo>
                        <a:pt x="91" y="0"/>
                      </a:moveTo>
                      <a:lnTo>
                        <a:pt x="117" y="0"/>
                      </a:lnTo>
                      <a:lnTo>
                        <a:pt x="117" y="316"/>
                      </a:lnTo>
                      <a:lnTo>
                        <a:pt x="77" y="316"/>
                      </a:lnTo>
                      <a:lnTo>
                        <a:pt x="77" y="70"/>
                      </a:lnTo>
                      <a:lnTo>
                        <a:pt x="62" y="84"/>
                      </a:lnTo>
                      <a:lnTo>
                        <a:pt x="41" y="97"/>
                      </a:lnTo>
                      <a:lnTo>
                        <a:pt x="18" y="108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1" y="62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198"/>
                <p:cNvSpPr>
                  <a:spLocks noEditPoints="1"/>
                </p:cNvSpPr>
                <p:nvPr/>
              </p:nvSpPr>
              <p:spPr bwMode="auto">
                <a:xfrm>
                  <a:off x="-701" y="4320"/>
                  <a:ext cx="35" cy="54"/>
                </a:xfrm>
                <a:custGeom>
                  <a:avLst/>
                  <a:gdLst>
                    <a:gd name="T0" fmla="*/ 87 w 207"/>
                    <a:gd name="T1" fmla="*/ 34 h 321"/>
                    <a:gd name="T2" fmla="*/ 60 w 207"/>
                    <a:gd name="T3" fmla="*/ 55 h 321"/>
                    <a:gd name="T4" fmla="*/ 46 w 207"/>
                    <a:gd name="T5" fmla="*/ 96 h 321"/>
                    <a:gd name="T6" fmla="*/ 40 w 207"/>
                    <a:gd name="T7" fmla="*/ 160 h 321"/>
                    <a:gd name="T8" fmla="*/ 44 w 207"/>
                    <a:gd name="T9" fmla="*/ 214 h 321"/>
                    <a:gd name="T10" fmla="*/ 52 w 207"/>
                    <a:gd name="T11" fmla="*/ 251 h 321"/>
                    <a:gd name="T12" fmla="*/ 72 w 207"/>
                    <a:gd name="T13" fmla="*/ 279 h 321"/>
                    <a:gd name="T14" fmla="*/ 103 w 207"/>
                    <a:gd name="T15" fmla="*/ 290 h 321"/>
                    <a:gd name="T16" fmla="*/ 135 w 207"/>
                    <a:gd name="T17" fmla="*/ 279 h 321"/>
                    <a:gd name="T18" fmla="*/ 155 w 207"/>
                    <a:gd name="T19" fmla="*/ 251 h 321"/>
                    <a:gd name="T20" fmla="*/ 164 w 207"/>
                    <a:gd name="T21" fmla="*/ 214 h 321"/>
                    <a:gd name="T22" fmla="*/ 167 w 207"/>
                    <a:gd name="T23" fmla="*/ 160 h 321"/>
                    <a:gd name="T24" fmla="*/ 164 w 207"/>
                    <a:gd name="T25" fmla="*/ 107 h 321"/>
                    <a:gd name="T26" fmla="*/ 155 w 207"/>
                    <a:gd name="T27" fmla="*/ 69 h 321"/>
                    <a:gd name="T28" fmla="*/ 135 w 207"/>
                    <a:gd name="T29" fmla="*/ 43 h 321"/>
                    <a:gd name="T30" fmla="*/ 103 w 207"/>
                    <a:gd name="T31" fmla="*/ 32 h 321"/>
                    <a:gd name="T32" fmla="*/ 128 w 207"/>
                    <a:gd name="T33" fmla="*/ 2 h 321"/>
                    <a:gd name="T34" fmla="*/ 161 w 207"/>
                    <a:gd name="T35" fmla="*/ 18 h 321"/>
                    <a:gd name="T36" fmla="*/ 181 w 207"/>
                    <a:gd name="T37" fmla="*/ 40 h 321"/>
                    <a:gd name="T38" fmla="*/ 201 w 207"/>
                    <a:gd name="T39" fmla="*/ 86 h 321"/>
                    <a:gd name="T40" fmla="*/ 206 w 207"/>
                    <a:gd name="T41" fmla="*/ 132 h 321"/>
                    <a:gd name="T42" fmla="*/ 206 w 207"/>
                    <a:gd name="T43" fmla="*/ 195 h 321"/>
                    <a:gd name="T44" fmla="*/ 196 w 207"/>
                    <a:gd name="T45" fmla="*/ 250 h 321"/>
                    <a:gd name="T46" fmla="*/ 175 w 207"/>
                    <a:gd name="T47" fmla="*/ 289 h 321"/>
                    <a:gd name="T48" fmla="*/ 145 w 207"/>
                    <a:gd name="T49" fmla="*/ 313 h 321"/>
                    <a:gd name="T50" fmla="*/ 103 w 207"/>
                    <a:gd name="T51" fmla="*/ 321 h 321"/>
                    <a:gd name="T52" fmla="*/ 62 w 207"/>
                    <a:gd name="T53" fmla="*/ 313 h 321"/>
                    <a:gd name="T54" fmla="*/ 31 w 207"/>
                    <a:gd name="T55" fmla="*/ 289 h 321"/>
                    <a:gd name="T56" fmla="*/ 11 w 207"/>
                    <a:gd name="T57" fmla="*/ 249 h 321"/>
                    <a:gd name="T58" fmla="*/ 2 w 207"/>
                    <a:gd name="T59" fmla="*/ 194 h 321"/>
                    <a:gd name="T60" fmla="*/ 2 w 207"/>
                    <a:gd name="T61" fmla="*/ 126 h 321"/>
                    <a:gd name="T62" fmla="*/ 11 w 207"/>
                    <a:gd name="T63" fmla="*/ 70 h 321"/>
                    <a:gd name="T64" fmla="*/ 32 w 207"/>
                    <a:gd name="T65" fmla="*/ 32 h 321"/>
                    <a:gd name="T66" fmla="*/ 62 w 207"/>
                    <a:gd name="T67" fmla="*/ 8 h 321"/>
                    <a:gd name="T68" fmla="*/ 103 w 207"/>
                    <a:gd name="T69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7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6" y="96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4" y="214"/>
                      </a:lnTo>
                      <a:lnTo>
                        <a:pt x="47" y="235"/>
                      </a:lnTo>
                      <a:lnTo>
                        <a:pt x="52" y="251"/>
                      </a:lnTo>
                      <a:lnTo>
                        <a:pt x="59" y="264"/>
                      </a:lnTo>
                      <a:lnTo>
                        <a:pt x="72" y="279"/>
                      </a:lnTo>
                      <a:lnTo>
                        <a:pt x="87" y="286"/>
                      </a:lnTo>
                      <a:lnTo>
                        <a:pt x="103" y="290"/>
                      </a:lnTo>
                      <a:lnTo>
                        <a:pt x="121" y="286"/>
                      </a:lnTo>
                      <a:lnTo>
                        <a:pt x="135" y="279"/>
                      </a:lnTo>
                      <a:lnTo>
                        <a:pt x="149" y="264"/>
                      </a:lnTo>
                      <a:lnTo>
                        <a:pt x="155" y="251"/>
                      </a:lnTo>
                      <a:lnTo>
                        <a:pt x="161" y="235"/>
                      </a:lnTo>
                      <a:lnTo>
                        <a:pt x="164" y="214"/>
                      </a:lnTo>
                      <a:lnTo>
                        <a:pt x="166" y="190"/>
                      </a:lnTo>
                      <a:lnTo>
                        <a:pt x="167" y="160"/>
                      </a:lnTo>
                      <a:lnTo>
                        <a:pt x="166" y="132"/>
                      </a:lnTo>
                      <a:lnTo>
                        <a:pt x="164" y="107"/>
                      </a:lnTo>
                      <a:lnTo>
                        <a:pt x="161" y="86"/>
                      </a:lnTo>
                      <a:lnTo>
                        <a:pt x="155" y="69"/>
                      </a:lnTo>
                      <a:lnTo>
                        <a:pt x="149" y="57"/>
                      </a:lnTo>
                      <a:lnTo>
                        <a:pt x="135" y="43"/>
                      </a:lnTo>
                      <a:lnTo>
                        <a:pt x="121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8" y="2"/>
                      </a:lnTo>
                      <a:lnTo>
                        <a:pt x="149" y="10"/>
                      </a:lnTo>
                      <a:lnTo>
                        <a:pt x="161" y="18"/>
                      </a:lnTo>
                      <a:lnTo>
                        <a:pt x="171" y="28"/>
                      </a:lnTo>
                      <a:lnTo>
                        <a:pt x="181" y="40"/>
                      </a:lnTo>
                      <a:lnTo>
                        <a:pt x="192" y="60"/>
                      </a:lnTo>
                      <a:lnTo>
                        <a:pt x="201" y="86"/>
                      </a:lnTo>
                      <a:lnTo>
                        <a:pt x="204" y="107"/>
                      </a:lnTo>
                      <a:lnTo>
                        <a:pt x="206" y="132"/>
                      </a:lnTo>
                      <a:lnTo>
                        <a:pt x="207" y="160"/>
                      </a:lnTo>
                      <a:lnTo>
                        <a:pt x="206" y="195"/>
                      </a:lnTo>
                      <a:lnTo>
                        <a:pt x="203" y="225"/>
                      </a:lnTo>
                      <a:lnTo>
                        <a:pt x="196" y="250"/>
                      </a:lnTo>
                      <a:lnTo>
                        <a:pt x="187" y="271"/>
                      </a:lnTo>
                      <a:lnTo>
                        <a:pt x="175" y="289"/>
                      </a:lnTo>
                      <a:lnTo>
                        <a:pt x="162" y="303"/>
                      </a:lnTo>
                      <a:lnTo>
                        <a:pt x="145" y="313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2" y="319"/>
                      </a:lnTo>
                      <a:lnTo>
                        <a:pt x="62" y="313"/>
                      </a:lnTo>
                      <a:lnTo>
                        <a:pt x="46" y="303"/>
                      </a:lnTo>
                      <a:lnTo>
                        <a:pt x="31" y="289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6" y="224"/>
                      </a:lnTo>
                      <a:lnTo>
                        <a:pt x="2" y="194"/>
                      </a:lnTo>
                      <a:lnTo>
                        <a:pt x="0" y="160"/>
                      </a:lnTo>
                      <a:lnTo>
                        <a:pt x="2" y="126"/>
                      </a:lnTo>
                      <a:lnTo>
                        <a:pt x="6" y="96"/>
                      </a:lnTo>
                      <a:lnTo>
                        <a:pt x="11" y="70"/>
                      </a:lnTo>
                      <a:lnTo>
                        <a:pt x="21" y="50"/>
                      </a:lnTo>
                      <a:lnTo>
                        <a:pt x="32" y="32"/>
                      </a:lnTo>
                      <a:lnTo>
                        <a:pt x="47" y="19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04" name="Group 157"/>
              <p:cNvGrpSpPr>
                <a:grpSpLocks noChangeAspect="1"/>
              </p:cNvGrpSpPr>
              <p:nvPr/>
            </p:nvGrpSpPr>
            <p:grpSpPr bwMode="auto">
              <a:xfrm>
                <a:off x="3539496" y="4250217"/>
                <a:ext cx="899853" cy="850158"/>
                <a:chOff x="3815" y="1810"/>
                <a:chExt cx="2354" cy="2224"/>
              </a:xfrm>
              <a:solidFill>
                <a:schemeClr val="bg1"/>
              </a:solidFill>
            </p:grpSpPr>
            <p:sp>
              <p:nvSpPr>
                <p:cNvPr id="105" name="Freeform 159"/>
                <p:cNvSpPr>
                  <a:spLocks noEditPoints="1"/>
                </p:cNvSpPr>
                <p:nvPr/>
              </p:nvSpPr>
              <p:spPr bwMode="auto">
                <a:xfrm>
                  <a:off x="3815" y="1810"/>
                  <a:ext cx="2021" cy="1982"/>
                </a:xfrm>
                <a:custGeom>
                  <a:avLst/>
                  <a:gdLst>
                    <a:gd name="T0" fmla="*/ 3423 w 4043"/>
                    <a:gd name="T1" fmla="*/ 409 h 3965"/>
                    <a:gd name="T2" fmla="*/ 3363 w 4043"/>
                    <a:gd name="T3" fmla="*/ 435 h 3965"/>
                    <a:gd name="T4" fmla="*/ 3317 w 4043"/>
                    <a:gd name="T5" fmla="*/ 481 h 3965"/>
                    <a:gd name="T6" fmla="*/ 3291 w 4043"/>
                    <a:gd name="T7" fmla="*/ 542 h 3965"/>
                    <a:gd name="T8" fmla="*/ 3291 w 4043"/>
                    <a:gd name="T9" fmla="*/ 611 h 3965"/>
                    <a:gd name="T10" fmla="*/ 3317 w 4043"/>
                    <a:gd name="T11" fmla="*/ 671 h 3965"/>
                    <a:gd name="T12" fmla="*/ 3363 w 4043"/>
                    <a:gd name="T13" fmla="*/ 716 h 3965"/>
                    <a:gd name="T14" fmla="*/ 3423 w 4043"/>
                    <a:gd name="T15" fmla="*/ 742 h 3965"/>
                    <a:gd name="T16" fmla="*/ 3491 w 4043"/>
                    <a:gd name="T17" fmla="*/ 742 h 3965"/>
                    <a:gd name="T18" fmla="*/ 3553 w 4043"/>
                    <a:gd name="T19" fmla="*/ 716 h 3965"/>
                    <a:gd name="T20" fmla="*/ 3598 w 4043"/>
                    <a:gd name="T21" fmla="*/ 671 h 3965"/>
                    <a:gd name="T22" fmla="*/ 3624 w 4043"/>
                    <a:gd name="T23" fmla="*/ 611 h 3965"/>
                    <a:gd name="T24" fmla="*/ 3624 w 4043"/>
                    <a:gd name="T25" fmla="*/ 542 h 3965"/>
                    <a:gd name="T26" fmla="*/ 3598 w 4043"/>
                    <a:gd name="T27" fmla="*/ 481 h 3965"/>
                    <a:gd name="T28" fmla="*/ 3553 w 4043"/>
                    <a:gd name="T29" fmla="*/ 435 h 3965"/>
                    <a:gd name="T30" fmla="*/ 3491 w 4043"/>
                    <a:gd name="T31" fmla="*/ 409 h 3965"/>
                    <a:gd name="T32" fmla="*/ 2924 w 4043"/>
                    <a:gd name="T33" fmla="*/ 406 h 3965"/>
                    <a:gd name="T34" fmla="*/ 2858 w 4043"/>
                    <a:gd name="T35" fmla="*/ 419 h 3965"/>
                    <a:gd name="T36" fmla="*/ 2804 w 4043"/>
                    <a:gd name="T37" fmla="*/ 456 h 3965"/>
                    <a:gd name="T38" fmla="*/ 2768 w 4043"/>
                    <a:gd name="T39" fmla="*/ 511 h 3965"/>
                    <a:gd name="T40" fmla="*/ 2755 w 4043"/>
                    <a:gd name="T41" fmla="*/ 576 h 3965"/>
                    <a:gd name="T42" fmla="*/ 2768 w 4043"/>
                    <a:gd name="T43" fmla="*/ 642 h 3965"/>
                    <a:gd name="T44" fmla="*/ 2804 w 4043"/>
                    <a:gd name="T45" fmla="*/ 696 h 3965"/>
                    <a:gd name="T46" fmla="*/ 2858 w 4043"/>
                    <a:gd name="T47" fmla="*/ 732 h 3965"/>
                    <a:gd name="T48" fmla="*/ 2924 w 4043"/>
                    <a:gd name="T49" fmla="*/ 746 h 3965"/>
                    <a:gd name="T50" fmla="*/ 2991 w 4043"/>
                    <a:gd name="T51" fmla="*/ 732 h 3965"/>
                    <a:gd name="T52" fmla="*/ 3045 w 4043"/>
                    <a:gd name="T53" fmla="*/ 696 h 3965"/>
                    <a:gd name="T54" fmla="*/ 3081 w 4043"/>
                    <a:gd name="T55" fmla="*/ 642 h 3965"/>
                    <a:gd name="T56" fmla="*/ 3094 w 4043"/>
                    <a:gd name="T57" fmla="*/ 576 h 3965"/>
                    <a:gd name="T58" fmla="*/ 3081 w 4043"/>
                    <a:gd name="T59" fmla="*/ 511 h 3965"/>
                    <a:gd name="T60" fmla="*/ 3045 w 4043"/>
                    <a:gd name="T61" fmla="*/ 456 h 3965"/>
                    <a:gd name="T62" fmla="*/ 2991 w 4043"/>
                    <a:gd name="T63" fmla="*/ 419 h 3965"/>
                    <a:gd name="T64" fmla="*/ 2924 w 4043"/>
                    <a:gd name="T65" fmla="*/ 406 h 3965"/>
                    <a:gd name="T66" fmla="*/ 3924 w 4043"/>
                    <a:gd name="T67" fmla="*/ 0 h 3965"/>
                    <a:gd name="T68" fmla="*/ 3984 w 4043"/>
                    <a:gd name="T69" fmla="*/ 18 h 3965"/>
                    <a:gd name="T70" fmla="*/ 4027 w 4043"/>
                    <a:gd name="T71" fmla="*/ 60 h 3965"/>
                    <a:gd name="T72" fmla="*/ 4043 w 4043"/>
                    <a:gd name="T73" fmla="*/ 120 h 3965"/>
                    <a:gd name="T74" fmla="*/ 4026 w 4043"/>
                    <a:gd name="T75" fmla="*/ 1778 h 3965"/>
                    <a:gd name="T76" fmla="*/ 3943 w 4043"/>
                    <a:gd name="T77" fmla="*/ 1795 h 3965"/>
                    <a:gd name="T78" fmla="*/ 3874 w 4043"/>
                    <a:gd name="T79" fmla="*/ 1841 h 3965"/>
                    <a:gd name="T80" fmla="*/ 3809 w 4043"/>
                    <a:gd name="T81" fmla="*/ 1868 h 3965"/>
                    <a:gd name="T82" fmla="*/ 3744 w 4043"/>
                    <a:gd name="T83" fmla="*/ 1878 h 3965"/>
                    <a:gd name="T84" fmla="*/ 3686 w 4043"/>
                    <a:gd name="T85" fmla="*/ 1908 h 3965"/>
                    <a:gd name="T86" fmla="*/ 357 w 4043"/>
                    <a:gd name="T87" fmla="*/ 1095 h 3965"/>
                    <a:gd name="T88" fmla="*/ 2587 w 4043"/>
                    <a:gd name="T89" fmla="*/ 3608 h 3965"/>
                    <a:gd name="T90" fmla="*/ 2585 w 4043"/>
                    <a:gd name="T91" fmla="*/ 3839 h 3965"/>
                    <a:gd name="T92" fmla="*/ 2602 w 4043"/>
                    <a:gd name="T93" fmla="*/ 3926 h 3965"/>
                    <a:gd name="T94" fmla="*/ 119 w 4043"/>
                    <a:gd name="T95" fmla="*/ 3965 h 3965"/>
                    <a:gd name="T96" fmla="*/ 59 w 4043"/>
                    <a:gd name="T97" fmla="*/ 3949 h 3965"/>
                    <a:gd name="T98" fmla="*/ 16 w 4043"/>
                    <a:gd name="T99" fmla="*/ 3906 h 3965"/>
                    <a:gd name="T100" fmla="*/ 0 w 4043"/>
                    <a:gd name="T101" fmla="*/ 3846 h 3965"/>
                    <a:gd name="T102" fmla="*/ 4 w 4043"/>
                    <a:gd name="T103" fmla="*/ 88 h 3965"/>
                    <a:gd name="T104" fmla="*/ 34 w 4043"/>
                    <a:gd name="T105" fmla="*/ 36 h 3965"/>
                    <a:gd name="T106" fmla="*/ 87 w 4043"/>
                    <a:gd name="T107" fmla="*/ 5 h 39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43" h="3965">
                      <a:moveTo>
                        <a:pt x="3457" y="406"/>
                      </a:moveTo>
                      <a:lnTo>
                        <a:pt x="3423" y="409"/>
                      </a:lnTo>
                      <a:lnTo>
                        <a:pt x="3391" y="419"/>
                      </a:lnTo>
                      <a:lnTo>
                        <a:pt x="3363" y="435"/>
                      </a:lnTo>
                      <a:lnTo>
                        <a:pt x="3337" y="456"/>
                      </a:lnTo>
                      <a:lnTo>
                        <a:pt x="3317" y="481"/>
                      </a:lnTo>
                      <a:lnTo>
                        <a:pt x="3301" y="511"/>
                      </a:lnTo>
                      <a:lnTo>
                        <a:pt x="3291" y="542"/>
                      </a:lnTo>
                      <a:lnTo>
                        <a:pt x="3287" y="576"/>
                      </a:lnTo>
                      <a:lnTo>
                        <a:pt x="3291" y="611"/>
                      </a:lnTo>
                      <a:lnTo>
                        <a:pt x="3301" y="642"/>
                      </a:lnTo>
                      <a:lnTo>
                        <a:pt x="3317" y="671"/>
                      </a:lnTo>
                      <a:lnTo>
                        <a:pt x="3337" y="696"/>
                      </a:lnTo>
                      <a:lnTo>
                        <a:pt x="3363" y="716"/>
                      </a:lnTo>
                      <a:lnTo>
                        <a:pt x="3391" y="732"/>
                      </a:lnTo>
                      <a:lnTo>
                        <a:pt x="3423" y="742"/>
                      </a:lnTo>
                      <a:lnTo>
                        <a:pt x="3457" y="746"/>
                      </a:lnTo>
                      <a:lnTo>
                        <a:pt x="3491" y="742"/>
                      </a:lnTo>
                      <a:lnTo>
                        <a:pt x="3524" y="732"/>
                      </a:lnTo>
                      <a:lnTo>
                        <a:pt x="3553" y="716"/>
                      </a:lnTo>
                      <a:lnTo>
                        <a:pt x="3577" y="696"/>
                      </a:lnTo>
                      <a:lnTo>
                        <a:pt x="3598" y="671"/>
                      </a:lnTo>
                      <a:lnTo>
                        <a:pt x="3614" y="642"/>
                      </a:lnTo>
                      <a:lnTo>
                        <a:pt x="3624" y="611"/>
                      </a:lnTo>
                      <a:lnTo>
                        <a:pt x="3627" y="576"/>
                      </a:lnTo>
                      <a:lnTo>
                        <a:pt x="3624" y="542"/>
                      </a:lnTo>
                      <a:lnTo>
                        <a:pt x="3614" y="511"/>
                      </a:lnTo>
                      <a:lnTo>
                        <a:pt x="3598" y="481"/>
                      </a:lnTo>
                      <a:lnTo>
                        <a:pt x="3577" y="456"/>
                      </a:lnTo>
                      <a:lnTo>
                        <a:pt x="3553" y="435"/>
                      </a:lnTo>
                      <a:lnTo>
                        <a:pt x="3524" y="419"/>
                      </a:lnTo>
                      <a:lnTo>
                        <a:pt x="3491" y="409"/>
                      </a:lnTo>
                      <a:lnTo>
                        <a:pt x="3457" y="406"/>
                      </a:lnTo>
                      <a:close/>
                      <a:moveTo>
                        <a:pt x="2924" y="406"/>
                      </a:moveTo>
                      <a:lnTo>
                        <a:pt x="2890" y="409"/>
                      </a:lnTo>
                      <a:lnTo>
                        <a:pt x="2858" y="419"/>
                      </a:lnTo>
                      <a:lnTo>
                        <a:pt x="2830" y="435"/>
                      </a:lnTo>
                      <a:lnTo>
                        <a:pt x="2804" y="456"/>
                      </a:lnTo>
                      <a:lnTo>
                        <a:pt x="2784" y="481"/>
                      </a:lnTo>
                      <a:lnTo>
                        <a:pt x="2768" y="511"/>
                      </a:lnTo>
                      <a:lnTo>
                        <a:pt x="2758" y="542"/>
                      </a:lnTo>
                      <a:lnTo>
                        <a:pt x="2755" y="576"/>
                      </a:lnTo>
                      <a:lnTo>
                        <a:pt x="2758" y="611"/>
                      </a:lnTo>
                      <a:lnTo>
                        <a:pt x="2768" y="642"/>
                      </a:lnTo>
                      <a:lnTo>
                        <a:pt x="2784" y="671"/>
                      </a:lnTo>
                      <a:lnTo>
                        <a:pt x="2804" y="696"/>
                      </a:lnTo>
                      <a:lnTo>
                        <a:pt x="2830" y="716"/>
                      </a:lnTo>
                      <a:lnTo>
                        <a:pt x="2858" y="732"/>
                      </a:lnTo>
                      <a:lnTo>
                        <a:pt x="2890" y="742"/>
                      </a:lnTo>
                      <a:lnTo>
                        <a:pt x="2924" y="746"/>
                      </a:lnTo>
                      <a:lnTo>
                        <a:pt x="2958" y="742"/>
                      </a:lnTo>
                      <a:lnTo>
                        <a:pt x="2991" y="732"/>
                      </a:lnTo>
                      <a:lnTo>
                        <a:pt x="3020" y="716"/>
                      </a:lnTo>
                      <a:lnTo>
                        <a:pt x="3045" y="696"/>
                      </a:lnTo>
                      <a:lnTo>
                        <a:pt x="3065" y="671"/>
                      </a:lnTo>
                      <a:lnTo>
                        <a:pt x="3081" y="642"/>
                      </a:lnTo>
                      <a:lnTo>
                        <a:pt x="3091" y="611"/>
                      </a:lnTo>
                      <a:lnTo>
                        <a:pt x="3094" y="576"/>
                      </a:lnTo>
                      <a:lnTo>
                        <a:pt x="3091" y="542"/>
                      </a:lnTo>
                      <a:lnTo>
                        <a:pt x="3081" y="511"/>
                      </a:lnTo>
                      <a:lnTo>
                        <a:pt x="3065" y="481"/>
                      </a:lnTo>
                      <a:lnTo>
                        <a:pt x="3045" y="456"/>
                      </a:lnTo>
                      <a:lnTo>
                        <a:pt x="3020" y="435"/>
                      </a:lnTo>
                      <a:lnTo>
                        <a:pt x="2991" y="419"/>
                      </a:lnTo>
                      <a:lnTo>
                        <a:pt x="2958" y="409"/>
                      </a:lnTo>
                      <a:lnTo>
                        <a:pt x="2924" y="406"/>
                      </a:lnTo>
                      <a:close/>
                      <a:moveTo>
                        <a:pt x="119" y="0"/>
                      </a:moveTo>
                      <a:lnTo>
                        <a:pt x="3924" y="0"/>
                      </a:lnTo>
                      <a:lnTo>
                        <a:pt x="3956" y="5"/>
                      </a:lnTo>
                      <a:lnTo>
                        <a:pt x="3984" y="18"/>
                      </a:lnTo>
                      <a:lnTo>
                        <a:pt x="4009" y="36"/>
                      </a:lnTo>
                      <a:lnTo>
                        <a:pt x="4027" y="60"/>
                      </a:lnTo>
                      <a:lnTo>
                        <a:pt x="4039" y="88"/>
                      </a:lnTo>
                      <a:lnTo>
                        <a:pt x="4043" y="120"/>
                      </a:lnTo>
                      <a:lnTo>
                        <a:pt x="4043" y="1778"/>
                      </a:lnTo>
                      <a:lnTo>
                        <a:pt x="4026" y="1778"/>
                      </a:lnTo>
                      <a:lnTo>
                        <a:pt x="3983" y="1783"/>
                      </a:lnTo>
                      <a:lnTo>
                        <a:pt x="3943" y="1795"/>
                      </a:lnTo>
                      <a:lnTo>
                        <a:pt x="3907" y="1815"/>
                      </a:lnTo>
                      <a:lnTo>
                        <a:pt x="3874" y="1841"/>
                      </a:lnTo>
                      <a:lnTo>
                        <a:pt x="3849" y="1873"/>
                      </a:lnTo>
                      <a:lnTo>
                        <a:pt x="3809" y="1868"/>
                      </a:lnTo>
                      <a:lnTo>
                        <a:pt x="3776" y="1871"/>
                      </a:lnTo>
                      <a:lnTo>
                        <a:pt x="3744" y="1878"/>
                      </a:lnTo>
                      <a:lnTo>
                        <a:pt x="3713" y="1891"/>
                      </a:lnTo>
                      <a:lnTo>
                        <a:pt x="3686" y="1908"/>
                      </a:lnTo>
                      <a:lnTo>
                        <a:pt x="3686" y="1095"/>
                      </a:lnTo>
                      <a:lnTo>
                        <a:pt x="357" y="1095"/>
                      </a:lnTo>
                      <a:lnTo>
                        <a:pt x="357" y="3608"/>
                      </a:lnTo>
                      <a:lnTo>
                        <a:pt x="2587" y="3608"/>
                      </a:lnTo>
                      <a:lnTo>
                        <a:pt x="2585" y="3640"/>
                      </a:lnTo>
                      <a:lnTo>
                        <a:pt x="2585" y="3839"/>
                      </a:lnTo>
                      <a:lnTo>
                        <a:pt x="2590" y="3885"/>
                      </a:lnTo>
                      <a:lnTo>
                        <a:pt x="2602" y="3926"/>
                      </a:lnTo>
                      <a:lnTo>
                        <a:pt x="2622" y="3965"/>
                      </a:lnTo>
                      <a:lnTo>
                        <a:pt x="119" y="3965"/>
                      </a:lnTo>
                      <a:lnTo>
                        <a:pt x="87" y="3961"/>
                      </a:lnTo>
                      <a:lnTo>
                        <a:pt x="59" y="3949"/>
                      </a:lnTo>
                      <a:lnTo>
                        <a:pt x="34" y="3931"/>
                      </a:lnTo>
                      <a:lnTo>
                        <a:pt x="16" y="3906"/>
                      </a:lnTo>
                      <a:lnTo>
                        <a:pt x="4" y="3878"/>
                      </a:lnTo>
                      <a:lnTo>
                        <a:pt x="0" y="3846"/>
                      </a:lnTo>
                      <a:lnTo>
                        <a:pt x="0" y="120"/>
                      </a:lnTo>
                      <a:lnTo>
                        <a:pt x="4" y="88"/>
                      </a:lnTo>
                      <a:lnTo>
                        <a:pt x="16" y="60"/>
                      </a:lnTo>
                      <a:lnTo>
                        <a:pt x="34" y="36"/>
                      </a:lnTo>
                      <a:lnTo>
                        <a:pt x="59" y="18"/>
                      </a:lnTo>
                      <a:lnTo>
                        <a:pt x="87" y="5"/>
                      </a:lnTo>
                      <a:lnTo>
                        <a:pt x="11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" name="Freeform 160"/>
                <p:cNvSpPr>
                  <a:spLocks noEditPoints="1"/>
                </p:cNvSpPr>
                <p:nvPr/>
              </p:nvSpPr>
              <p:spPr bwMode="auto">
                <a:xfrm>
                  <a:off x="4491" y="2507"/>
                  <a:ext cx="895" cy="895"/>
                </a:xfrm>
                <a:custGeom>
                  <a:avLst/>
                  <a:gdLst>
                    <a:gd name="T0" fmla="*/ 727 w 1791"/>
                    <a:gd name="T1" fmla="*/ 498 h 1790"/>
                    <a:gd name="T2" fmla="*/ 554 w 1791"/>
                    <a:gd name="T3" fmla="*/ 632 h 1790"/>
                    <a:gd name="T4" fmla="*/ 469 w 1791"/>
                    <a:gd name="T5" fmla="*/ 836 h 1790"/>
                    <a:gd name="T6" fmla="*/ 499 w 1791"/>
                    <a:gd name="T7" fmla="*/ 1062 h 1790"/>
                    <a:gd name="T8" fmla="*/ 632 w 1791"/>
                    <a:gd name="T9" fmla="*/ 1236 h 1790"/>
                    <a:gd name="T10" fmla="*/ 837 w 1791"/>
                    <a:gd name="T11" fmla="*/ 1322 h 1790"/>
                    <a:gd name="T12" fmla="*/ 1063 w 1791"/>
                    <a:gd name="T13" fmla="*/ 1292 h 1790"/>
                    <a:gd name="T14" fmla="*/ 1236 w 1791"/>
                    <a:gd name="T15" fmla="*/ 1158 h 1790"/>
                    <a:gd name="T16" fmla="*/ 1323 w 1791"/>
                    <a:gd name="T17" fmla="*/ 953 h 1790"/>
                    <a:gd name="T18" fmla="*/ 1293 w 1791"/>
                    <a:gd name="T19" fmla="*/ 728 h 1790"/>
                    <a:gd name="T20" fmla="*/ 1159 w 1791"/>
                    <a:gd name="T21" fmla="*/ 553 h 1790"/>
                    <a:gd name="T22" fmla="*/ 955 w 1791"/>
                    <a:gd name="T23" fmla="*/ 468 h 1790"/>
                    <a:gd name="T24" fmla="*/ 1052 w 1791"/>
                    <a:gd name="T25" fmla="*/ 3 h 1790"/>
                    <a:gd name="T26" fmla="*/ 1139 w 1791"/>
                    <a:gd name="T27" fmla="*/ 73 h 1790"/>
                    <a:gd name="T28" fmla="*/ 1192 w 1791"/>
                    <a:gd name="T29" fmla="*/ 180 h 1790"/>
                    <a:gd name="T30" fmla="*/ 1303 w 1791"/>
                    <a:gd name="T31" fmla="*/ 142 h 1790"/>
                    <a:gd name="T32" fmla="*/ 1416 w 1791"/>
                    <a:gd name="T33" fmla="*/ 155 h 1790"/>
                    <a:gd name="T34" fmla="*/ 1649 w 1791"/>
                    <a:gd name="T35" fmla="*/ 402 h 1790"/>
                    <a:gd name="T36" fmla="*/ 1636 w 1791"/>
                    <a:gd name="T37" fmla="*/ 513 h 1790"/>
                    <a:gd name="T38" fmla="*/ 1625 w 1791"/>
                    <a:gd name="T39" fmla="*/ 638 h 1790"/>
                    <a:gd name="T40" fmla="*/ 1741 w 1791"/>
                    <a:gd name="T41" fmla="*/ 666 h 1790"/>
                    <a:gd name="T42" fmla="*/ 1791 w 1791"/>
                    <a:gd name="T43" fmla="*/ 769 h 1790"/>
                    <a:gd name="T44" fmla="*/ 1762 w 1791"/>
                    <a:gd name="T45" fmla="*/ 1104 h 1790"/>
                    <a:gd name="T46" fmla="*/ 1659 w 1791"/>
                    <a:gd name="T47" fmla="*/ 1152 h 1790"/>
                    <a:gd name="T48" fmla="*/ 1618 w 1791"/>
                    <a:gd name="T49" fmla="*/ 1252 h 1790"/>
                    <a:gd name="T50" fmla="*/ 1655 w 1791"/>
                    <a:gd name="T51" fmla="*/ 1361 h 1790"/>
                    <a:gd name="T52" fmla="*/ 1439 w 1791"/>
                    <a:gd name="T53" fmla="*/ 1617 h 1790"/>
                    <a:gd name="T54" fmla="*/ 1332 w 1791"/>
                    <a:gd name="T55" fmla="*/ 1655 h 1790"/>
                    <a:gd name="T56" fmla="*/ 1229 w 1791"/>
                    <a:gd name="T57" fmla="*/ 1592 h 1790"/>
                    <a:gd name="T58" fmla="*/ 1149 w 1791"/>
                    <a:gd name="T59" fmla="*/ 1688 h 1790"/>
                    <a:gd name="T60" fmla="*/ 1079 w 1791"/>
                    <a:gd name="T61" fmla="*/ 1777 h 1790"/>
                    <a:gd name="T62" fmla="*/ 740 w 1791"/>
                    <a:gd name="T63" fmla="*/ 1787 h 1790"/>
                    <a:gd name="T64" fmla="*/ 652 w 1791"/>
                    <a:gd name="T65" fmla="*/ 1717 h 1790"/>
                    <a:gd name="T66" fmla="*/ 600 w 1791"/>
                    <a:gd name="T67" fmla="*/ 1609 h 1790"/>
                    <a:gd name="T68" fmla="*/ 487 w 1791"/>
                    <a:gd name="T69" fmla="*/ 1648 h 1790"/>
                    <a:gd name="T70" fmla="*/ 374 w 1791"/>
                    <a:gd name="T71" fmla="*/ 1635 h 1790"/>
                    <a:gd name="T72" fmla="*/ 141 w 1791"/>
                    <a:gd name="T73" fmla="*/ 1389 h 1790"/>
                    <a:gd name="T74" fmla="*/ 154 w 1791"/>
                    <a:gd name="T75" fmla="*/ 1276 h 1790"/>
                    <a:gd name="T76" fmla="*/ 167 w 1791"/>
                    <a:gd name="T77" fmla="*/ 1152 h 1790"/>
                    <a:gd name="T78" fmla="*/ 50 w 1791"/>
                    <a:gd name="T79" fmla="*/ 1124 h 1790"/>
                    <a:gd name="T80" fmla="*/ 0 w 1791"/>
                    <a:gd name="T81" fmla="*/ 1021 h 1790"/>
                    <a:gd name="T82" fmla="*/ 29 w 1791"/>
                    <a:gd name="T83" fmla="*/ 686 h 1790"/>
                    <a:gd name="T84" fmla="*/ 133 w 1791"/>
                    <a:gd name="T85" fmla="*/ 638 h 1790"/>
                    <a:gd name="T86" fmla="*/ 174 w 1791"/>
                    <a:gd name="T87" fmla="*/ 538 h 1790"/>
                    <a:gd name="T88" fmla="*/ 136 w 1791"/>
                    <a:gd name="T89" fmla="*/ 429 h 1790"/>
                    <a:gd name="T90" fmla="*/ 351 w 1791"/>
                    <a:gd name="T91" fmla="*/ 173 h 1790"/>
                    <a:gd name="T92" fmla="*/ 459 w 1791"/>
                    <a:gd name="T93" fmla="*/ 135 h 1790"/>
                    <a:gd name="T94" fmla="*/ 562 w 1791"/>
                    <a:gd name="T95" fmla="*/ 197 h 1790"/>
                    <a:gd name="T96" fmla="*/ 642 w 1791"/>
                    <a:gd name="T97" fmla="*/ 102 h 1790"/>
                    <a:gd name="T98" fmla="*/ 712 w 1791"/>
                    <a:gd name="T99" fmla="*/ 13 h 1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791" h="1790">
                      <a:moveTo>
                        <a:pt x="896" y="463"/>
                      </a:moveTo>
                      <a:lnTo>
                        <a:pt x="837" y="468"/>
                      </a:lnTo>
                      <a:lnTo>
                        <a:pt x="780" y="479"/>
                      </a:lnTo>
                      <a:lnTo>
                        <a:pt x="727" y="498"/>
                      </a:lnTo>
                      <a:lnTo>
                        <a:pt x="677" y="523"/>
                      </a:lnTo>
                      <a:lnTo>
                        <a:pt x="632" y="553"/>
                      </a:lnTo>
                      <a:lnTo>
                        <a:pt x="590" y="590"/>
                      </a:lnTo>
                      <a:lnTo>
                        <a:pt x="554" y="632"/>
                      </a:lnTo>
                      <a:lnTo>
                        <a:pt x="523" y="678"/>
                      </a:lnTo>
                      <a:lnTo>
                        <a:pt x="499" y="728"/>
                      </a:lnTo>
                      <a:lnTo>
                        <a:pt x="480" y="781"/>
                      </a:lnTo>
                      <a:lnTo>
                        <a:pt x="469" y="836"/>
                      </a:lnTo>
                      <a:lnTo>
                        <a:pt x="464" y="895"/>
                      </a:lnTo>
                      <a:lnTo>
                        <a:pt x="469" y="953"/>
                      </a:lnTo>
                      <a:lnTo>
                        <a:pt x="480" y="1009"/>
                      </a:lnTo>
                      <a:lnTo>
                        <a:pt x="499" y="1062"/>
                      </a:lnTo>
                      <a:lnTo>
                        <a:pt x="523" y="1112"/>
                      </a:lnTo>
                      <a:lnTo>
                        <a:pt x="554" y="1158"/>
                      </a:lnTo>
                      <a:lnTo>
                        <a:pt x="590" y="1199"/>
                      </a:lnTo>
                      <a:lnTo>
                        <a:pt x="632" y="1236"/>
                      </a:lnTo>
                      <a:lnTo>
                        <a:pt x="677" y="1268"/>
                      </a:lnTo>
                      <a:lnTo>
                        <a:pt x="727" y="1292"/>
                      </a:lnTo>
                      <a:lnTo>
                        <a:pt x="780" y="1311"/>
                      </a:lnTo>
                      <a:lnTo>
                        <a:pt x="837" y="1322"/>
                      </a:lnTo>
                      <a:lnTo>
                        <a:pt x="896" y="1326"/>
                      </a:lnTo>
                      <a:lnTo>
                        <a:pt x="955" y="1322"/>
                      </a:lnTo>
                      <a:lnTo>
                        <a:pt x="1010" y="1311"/>
                      </a:lnTo>
                      <a:lnTo>
                        <a:pt x="1063" y="1292"/>
                      </a:lnTo>
                      <a:lnTo>
                        <a:pt x="1113" y="1268"/>
                      </a:lnTo>
                      <a:lnTo>
                        <a:pt x="1159" y="1236"/>
                      </a:lnTo>
                      <a:lnTo>
                        <a:pt x="1200" y="1199"/>
                      </a:lnTo>
                      <a:lnTo>
                        <a:pt x="1236" y="1158"/>
                      </a:lnTo>
                      <a:lnTo>
                        <a:pt x="1268" y="1112"/>
                      </a:lnTo>
                      <a:lnTo>
                        <a:pt x="1293" y="1062"/>
                      </a:lnTo>
                      <a:lnTo>
                        <a:pt x="1310" y="1009"/>
                      </a:lnTo>
                      <a:lnTo>
                        <a:pt x="1323" y="953"/>
                      </a:lnTo>
                      <a:lnTo>
                        <a:pt x="1326" y="895"/>
                      </a:lnTo>
                      <a:lnTo>
                        <a:pt x="1323" y="836"/>
                      </a:lnTo>
                      <a:lnTo>
                        <a:pt x="1310" y="781"/>
                      </a:lnTo>
                      <a:lnTo>
                        <a:pt x="1293" y="728"/>
                      </a:lnTo>
                      <a:lnTo>
                        <a:pt x="1268" y="678"/>
                      </a:lnTo>
                      <a:lnTo>
                        <a:pt x="1236" y="632"/>
                      </a:lnTo>
                      <a:lnTo>
                        <a:pt x="1200" y="590"/>
                      </a:lnTo>
                      <a:lnTo>
                        <a:pt x="1159" y="553"/>
                      </a:lnTo>
                      <a:lnTo>
                        <a:pt x="1113" y="523"/>
                      </a:lnTo>
                      <a:lnTo>
                        <a:pt x="1063" y="498"/>
                      </a:lnTo>
                      <a:lnTo>
                        <a:pt x="1010" y="479"/>
                      </a:lnTo>
                      <a:lnTo>
                        <a:pt x="955" y="468"/>
                      </a:lnTo>
                      <a:lnTo>
                        <a:pt x="896" y="463"/>
                      </a:lnTo>
                      <a:close/>
                      <a:moveTo>
                        <a:pt x="770" y="0"/>
                      </a:moveTo>
                      <a:lnTo>
                        <a:pt x="1020" y="0"/>
                      </a:lnTo>
                      <a:lnTo>
                        <a:pt x="1052" y="3"/>
                      </a:lnTo>
                      <a:lnTo>
                        <a:pt x="1079" y="13"/>
                      </a:lnTo>
                      <a:lnTo>
                        <a:pt x="1103" y="29"/>
                      </a:lnTo>
                      <a:lnTo>
                        <a:pt x="1125" y="49"/>
                      </a:lnTo>
                      <a:lnTo>
                        <a:pt x="1139" y="73"/>
                      </a:lnTo>
                      <a:lnTo>
                        <a:pt x="1149" y="102"/>
                      </a:lnTo>
                      <a:lnTo>
                        <a:pt x="1153" y="132"/>
                      </a:lnTo>
                      <a:lnTo>
                        <a:pt x="1153" y="166"/>
                      </a:lnTo>
                      <a:lnTo>
                        <a:pt x="1192" y="180"/>
                      </a:lnTo>
                      <a:lnTo>
                        <a:pt x="1229" y="197"/>
                      </a:lnTo>
                      <a:lnTo>
                        <a:pt x="1253" y="173"/>
                      </a:lnTo>
                      <a:lnTo>
                        <a:pt x="1276" y="155"/>
                      </a:lnTo>
                      <a:lnTo>
                        <a:pt x="1303" y="142"/>
                      </a:lnTo>
                      <a:lnTo>
                        <a:pt x="1332" y="135"/>
                      </a:lnTo>
                      <a:lnTo>
                        <a:pt x="1360" y="135"/>
                      </a:lnTo>
                      <a:lnTo>
                        <a:pt x="1389" y="142"/>
                      </a:lnTo>
                      <a:lnTo>
                        <a:pt x="1416" y="155"/>
                      </a:lnTo>
                      <a:lnTo>
                        <a:pt x="1439" y="173"/>
                      </a:lnTo>
                      <a:lnTo>
                        <a:pt x="1618" y="350"/>
                      </a:lnTo>
                      <a:lnTo>
                        <a:pt x="1636" y="375"/>
                      </a:lnTo>
                      <a:lnTo>
                        <a:pt x="1649" y="402"/>
                      </a:lnTo>
                      <a:lnTo>
                        <a:pt x="1655" y="429"/>
                      </a:lnTo>
                      <a:lnTo>
                        <a:pt x="1655" y="459"/>
                      </a:lnTo>
                      <a:lnTo>
                        <a:pt x="1649" y="488"/>
                      </a:lnTo>
                      <a:lnTo>
                        <a:pt x="1636" y="513"/>
                      </a:lnTo>
                      <a:lnTo>
                        <a:pt x="1618" y="538"/>
                      </a:lnTo>
                      <a:lnTo>
                        <a:pt x="1593" y="562"/>
                      </a:lnTo>
                      <a:lnTo>
                        <a:pt x="1609" y="599"/>
                      </a:lnTo>
                      <a:lnTo>
                        <a:pt x="1625" y="638"/>
                      </a:lnTo>
                      <a:lnTo>
                        <a:pt x="1659" y="638"/>
                      </a:lnTo>
                      <a:lnTo>
                        <a:pt x="1689" y="640"/>
                      </a:lnTo>
                      <a:lnTo>
                        <a:pt x="1716" y="651"/>
                      </a:lnTo>
                      <a:lnTo>
                        <a:pt x="1741" y="666"/>
                      </a:lnTo>
                      <a:lnTo>
                        <a:pt x="1762" y="686"/>
                      </a:lnTo>
                      <a:lnTo>
                        <a:pt x="1778" y="712"/>
                      </a:lnTo>
                      <a:lnTo>
                        <a:pt x="1788" y="739"/>
                      </a:lnTo>
                      <a:lnTo>
                        <a:pt x="1791" y="769"/>
                      </a:lnTo>
                      <a:lnTo>
                        <a:pt x="1791" y="1021"/>
                      </a:lnTo>
                      <a:lnTo>
                        <a:pt x="1788" y="1051"/>
                      </a:lnTo>
                      <a:lnTo>
                        <a:pt x="1778" y="1079"/>
                      </a:lnTo>
                      <a:lnTo>
                        <a:pt x="1762" y="1104"/>
                      </a:lnTo>
                      <a:lnTo>
                        <a:pt x="1741" y="1124"/>
                      </a:lnTo>
                      <a:lnTo>
                        <a:pt x="1716" y="1139"/>
                      </a:lnTo>
                      <a:lnTo>
                        <a:pt x="1689" y="1149"/>
                      </a:lnTo>
                      <a:lnTo>
                        <a:pt x="1659" y="1152"/>
                      </a:lnTo>
                      <a:lnTo>
                        <a:pt x="1625" y="1152"/>
                      </a:lnTo>
                      <a:lnTo>
                        <a:pt x="1609" y="1191"/>
                      </a:lnTo>
                      <a:lnTo>
                        <a:pt x="1593" y="1228"/>
                      </a:lnTo>
                      <a:lnTo>
                        <a:pt x="1618" y="1252"/>
                      </a:lnTo>
                      <a:lnTo>
                        <a:pt x="1636" y="1276"/>
                      </a:lnTo>
                      <a:lnTo>
                        <a:pt x="1649" y="1304"/>
                      </a:lnTo>
                      <a:lnTo>
                        <a:pt x="1655" y="1331"/>
                      </a:lnTo>
                      <a:lnTo>
                        <a:pt x="1655" y="1361"/>
                      </a:lnTo>
                      <a:lnTo>
                        <a:pt x="1649" y="1389"/>
                      </a:lnTo>
                      <a:lnTo>
                        <a:pt x="1636" y="1415"/>
                      </a:lnTo>
                      <a:lnTo>
                        <a:pt x="1618" y="1439"/>
                      </a:lnTo>
                      <a:lnTo>
                        <a:pt x="1439" y="1617"/>
                      </a:lnTo>
                      <a:lnTo>
                        <a:pt x="1416" y="1635"/>
                      </a:lnTo>
                      <a:lnTo>
                        <a:pt x="1389" y="1648"/>
                      </a:lnTo>
                      <a:lnTo>
                        <a:pt x="1360" y="1655"/>
                      </a:lnTo>
                      <a:lnTo>
                        <a:pt x="1332" y="1655"/>
                      </a:lnTo>
                      <a:lnTo>
                        <a:pt x="1303" y="1648"/>
                      </a:lnTo>
                      <a:lnTo>
                        <a:pt x="1276" y="1635"/>
                      </a:lnTo>
                      <a:lnTo>
                        <a:pt x="1253" y="1617"/>
                      </a:lnTo>
                      <a:lnTo>
                        <a:pt x="1229" y="1592"/>
                      </a:lnTo>
                      <a:lnTo>
                        <a:pt x="1192" y="1609"/>
                      </a:lnTo>
                      <a:lnTo>
                        <a:pt x="1153" y="1624"/>
                      </a:lnTo>
                      <a:lnTo>
                        <a:pt x="1153" y="1658"/>
                      </a:lnTo>
                      <a:lnTo>
                        <a:pt x="1149" y="1688"/>
                      </a:lnTo>
                      <a:lnTo>
                        <a:pt x="1139" y="1717"/>
                      </a:lnTo>
                      <a:lnTo>
                        <a:pt x="1125" y="1741"/>
                      </a:lnTo>
                      <a:lnTo>
                        <a:pt x="1103" y="1761"/>
                      </a:lnTo>
                      <a:lnTo>
                        <a:pt x="1079" y="1777"/>
                      </a:lnTo>
                      <a:lnTo>
                        <a:pt x="1052" y="1787"/>
                      </a:lnTo>
                      <a:lnTo>
                        <a:pt x="1020" y="1790"/>
                      </a:lnTo>
                      <a:lnTo>
                        <a:pt x="770" y="1790"/>
                      </a:lnTo>
                      <a:lnTo>
                        <a:pt x="740" y="1787"/>
                      </a:lnTo>
                      <a:lnTo>
                        <a:pt x="712" y="1777"/>
                      </a:lnTo>
                      <a:lnTo>
                        <a:pt x="687" y="1761"/>
                      </a:lnTo>
                      <a:lnTo>
                        <a:pt x="667" y="1741"/>
                      </a:lnTo>
                      <a:lnTo>
                        <a:pt x="652" y="1717"/>
                      </a:lnTo>
                      <a:lnTo>
                        <a:pt x="642" y="1688"/>
                      </a:lnTo>
                      <a:lnTo>
                        <a:pt x="637" y="1658"/>
                      </a:lnTo>
                      <a:lnTo>
                        <a:pt x="637" y="1624"/>
                      </a:lnTo>
                      <a:lnTo>
                        <a:pt x="600" y="1609"/>
                      </a:lnTo>
                      <a:lnTo>
                        <a:pt x="562" y="1592"/>
                      </a:lnTo>
                      <a:lnTo>
                        <a:pt x="537" y="1617"/>
                      </a:lnTo>
                      <a:lnTo>
                        <a:pt x="514" y="1635"/>
                      </a:lnTo>
                      <a:lnTo>
                        <a:pt x="487" y="1648"/>
                      </a:lnTo>
                      <a:lnTo>
                        <a:pt x="459" y="1655"/>
                      </a:lnTo>
                      <a:lnTo>
                        <a:pt x="430" y="1655"/>
                      </a:lnTo>
                      <a:lnTo>
                        <a:pt x="401" y="1648"/>
                      </a:lnTo>
                      <a:lnTo>
                        <a:pt x="374" y="1635"/>
                      </a:lnTo>
                      <a:lnTo>
                        <a:pt x="351" y="1617"/>
                      </a:lnTo>
                      <a:lnTo>
                        <a:pt x="174" y="1439"/>
                      </a:lnTo>
                      <a:lnTo>
                        <a:pt x="154" y="1415"/>
                      </a:lnTo>
                      <a:lnTo>
                        <a:pt x="141" y="1389"/>
                      </a:lnTo>
                      <a:lnTo>
                        <a:pt x="136" y="1361"/>
                      </a:lnTo>
                      <a:lnTo>
                        <a:pt x="136" y="1331"/>
                      </a:lnTo>
                      <a:lnTo>
                        <a:pt x="141" y="1304"/>
                      </a:lnTo>
                      <a:lnTo>
                        <a:pt x="154" y="1276"/>
                      </a:lnTo>
                      <a:lnTo>
                        <a:pt x="174" y="1252"/>
                      </a:lnTo>
                      <a:lnTo>
                        <a:pt x="199" y="1228"/>
                      </a:lnTo>
                      <a:lnTo>
                        <a:pt x="181" y="1191"/>
                      </a:lnTo>
                      <a:lnTo>
                        <a:pt x="167" y="1152"/>
                      </a:lnTo>
                      <a:lnTo>
                        <a:pt x="133" y="1152"/>
                      </a:lnTo>
                      <a:lnTo>
                        <a:pt x="101" y="1149"/>
                      </a:lnTo>
                      <a:lnTo>
                        <a:pt x="74" y="1139"/>
                      </a:lnTo>
                      <a:lnTo>
                        <a:pt x="50" y="1124"/>
                      </a:lnTo>
                      <a:lnTo>
                        <a:pt x="29" y="1104"/>
                      </a:lnTo>
                      <a:lnTo>
                        <a:pt x="14" y="1079"/>
                      </a:lnTo>
                      <a:lnTo>
                        <a:pt x="4" y="1051"/>
                      </a:lnTo>
                      <a:lnTo>
                        <a:pt x="0" y="1021"/>
                      </a:lnTo>
                      <a:lnTo>
                        <a:pt x="0" y="769"/>
                      </a:lnTo>
                      <a:lnTo>
                        <a:pt x="4" y="739"/>
                      </a:lnTo>
                      <a:lnTo>
                        <a:pt x="14" y="712"/>
                      </a:lnTo>
                      <a:lnTo>
                        <a:pt x="29" y="686"/>
                      </a:lnTo>
                      <a:lnTo>
                        <a:pt x="50" y="666"/>
                      </a:lnTo>
                      <a:lnTo>
                        <a:pt x="74" y="651"/>
                      </a:lnTo>
                      <a:lnTo>
                        <a:pt x="101" y="640"/>
                      </a:lnTo>
                      <a:lnTo>
                        <a:pt x="133" y="638"/>
                      </a:lnTo>
                      <a:lnTo>
                        <a:pt x="167" y="638"/>
                      </a:lnTo>
                      <a:lnTo>
                        <a:pt x="181" y="599"/>
                      </a:lnTo>
                      <a:lnTo>
                        <a:pt x="199" y="562"/>
                      </a:lnTo>
                      <a:lnTo>
                        <a:pt x="174" y="538"/>
                      </a:lnTo>
                      <a:lnTo>
                        <a:pt x="154" y="513"/>
                      </a:lnTo>
                      <a:lnTo>
                        <a:pt x="141" y="488"/>
                      </a:lnTo>
                      <a:lnTo>
                        <a:pt x="136" y="459"/>
                      </a:lnTo>
                      <a:lnTo>
                        <a:pt x="136" y="429"/>
                      </a:lnTo>
                      <a:lnTo>
                        <a:pt x="141" y="402"/>
                      </a:lnTo>
                      <a:lnTo>
                        <a:pt x="154" y="375"/>
                      </a:lnTo>
                      <a:lnTo>
                        <a:pt x="174" y="350"/>
                      </a:lnTo>
                      <a:lnTo>
                        <a:pt x="351" y="173"/>
                      </a:lnTo>
                      <a:lnTo>
                        <a:pt x="376" y="155"/>
                      </a:lnTo>
                      <a:lnTo>
                        <a:pt x="401" y="142"/>
                      </a:lnTo>
                      <a:lnTo>
                        <a:pt x="430" y="135"/>
                      </a:lnTo>
                      <a:lnTo>
                        <a:pt x="459" y="135"/>
                      </a:lnTo>
                      <a:lnTo>
                        <a:pt x="487" y="142"/>
                      </a:lnTo>
                      <a:lnTo>
                        <a:pt x="514" y="155"/>
                      </a:lnTo>
                      <a:lnTo>
                        <a:pt x="537" y="173"/>
                      </a:lnTo>
                      <a:lnTo>
                        <a:pt x="562" y="197"/>
                      </a:lnTo>
                      <a:lnTo>
                        <a:pt x="600" y="180"/>
                      </a:lnTo>
                      <a:lnTo>
                        <a:pt x="637" y="166"/>
                      </a:lnTo>
                      <a:lnTo>
                        <a:pt x="637" y="132"/>
                      </a:lnTo>
                      <a:lnTo>
                        <a:pt x="642" y="102"/>
                      </a:lnTo>
                      <a:lnTo>
                        <a:pt x="652" y="73"/>
                      </a:lnTo>
                      <a:lnTo>
                        <a:pt x="667" y="49"/>
                      </a:lnTo>
                      <a:lnTo>
                        <a:pt x="687" y="29"/>
                      </a:lnTo>
                      <a:lnTo>
                        <a:pt x="712" y="13"/>
                      </a:lnTo>
                      <a:lnTo>
                        <a:pt x="740" y="3"/>
                      </a:lnTo>
                      <a:lnTo>
                        <a:pt x="77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" name="Freeform 161"/>
                <p:cNvSpPr>
                  <a:spLocks noEditPoints="1"/>
                </p:cNvSpPr>
                <p:nvPr/>
              </p:nvSpPr>
              <p:spPr bwMode="auto">
                <a:xfrm>
                  <a:off x="5171" y="3325"/>
                  <a:ext cx="710" cy="709"/>
                </a:xfrm>
                <a:custGeom>
                  <a:avLst/>
                  <a:gdLst>
                    <a:gd name="T0" fmla="*/ 602 w 1421"/>
                    <a:gd name="T1" fmla="*/ 385 h 1419"/>
                    <a:gd name="T2" fmla="*/ 469 w 1421"/>
                    <a:gd name="T3" fmla="*/ 467 h 1419"/>
                    <a:gd name="T4" fmla="*/ 386 w 1421"/>
                    <a:gd name="T5" fmla="*/ 602 h 1419"/>
                    <a:gd name="T6" fmla="*/ 373 w 1421"/>
                    <a:gd name="T7" fmla="*/ 765 h 1419"/>
                    <a:gd name="T8" fmla="*/ 435 w 1421"/>
                    <a:gd name="T9" fmla="*/ 912 h 1419"/>
                    <a:gd name="T10" fmla="*/ 553 w 1421"/>
                    <a:gd name="T11" fmla="*/ 1013 h 1419"/>
                    <a:gd name="T12" fmla="*/ 711 w 1421"/>
                    <a:gd name="T13" fmla="*/ 1051 h 1419"/>
                    <a:gd name="T14" fmla="*/ 868 w 1421"/>
                    <a:gd name="T15" fmla="*/ 1013 h 1419"/>
                    <a:gd name="T16" fmla="*/ 986 w 1421"/>
                    <a:gd name="T17" fmla="*/ 912 h 1419"/>
                    <a:gd name="T18" fmla="*/ 1048 w 1421"/>
                    <a:gd name="T19" fmla="*/ 765 h 1419"/>
                    <a:gd name="T20" fmla="*/ 1035 w 1421"/>
                    <a:gd name="T21" fmla="*/ 602 h 1419"/>
                    <a:gd name="T22" fmla="*/ 952 w 1421"/>
                    <a:gd name="T23" fmla="*/ 467 h 1419"/>
                    <a:gd name="T24" fmla="*/ 819 w 1421"/>
                    <a:gd name="T25" fmla="*/ 385 h 1419"/>
                    <a:gd name="T26" fmla="*/ 611 w 1421"/>
                    <a:gd name="T27" fmla="*/ 0 h 1419"/>
                    <a:gd name="T28" fmla="*/ 864 w 1421"/>
                    <a:gd name="T29" fmla="*/ 14 h 1419"/>
                    <a:gd name="T30" fmla="*/ 911 w 1421"/>
                    <a:gd name="T31" fmla="*/ 76 h 1419"/>
                    <a:gd name="T32" fmla="*/ 975 w 1421"/>
                    <a:gd name="T33" fmla="*/ 156 h 1419"/>
                    <a:gd name="T34" fmla="*/ 1032 w 1421"/>
                    <a:gd name="T35" fmla="*/ 113 h 1419"/>
                    <a:gd name="T36" fmla="*/ 1085 w 1421"/>
                    <a:gd name="T37" fmla="*/ 107 h 1419"/>
                    <a:gd name="T38" fmla="*/ 1142 w 1421"/>
                    <a:gd name="T39" fmla="*/ 137 h 1419"/>
                    <a:gd name="T40" fmla="*/ 1311 w 1421"/>
                    <a:gd name="T41" fmla="*/ 326 h 1419"/>
                    <a:gd name="T42" fmla="*/ 1299 w 1421"/>
                    <a:gd name="T43" fmla="*/ 403 h 1419"/>
                    <a:gd name="T44" fmla="*/ 1288 w 1421"/>
                    <a:gd name="T45" fmla="*/ 505 h 1419"/>
                    <a:gd name="T46" fmla="*/ 1368 w 1421"/>
                    <a:gd name="T47" fmla="*/ 519 h 1419"/>
                    <a:gd name="T48" fmla="*/ 1417 w 1421"/>
                    <a:gd name="T49" fmla="*/ 582 h 1419"/>
                    <a:gd name="T50" fmla="*/ 1417 w 1421"/>
                    <a:gd name="T51" fmla="*/ 836 h 1419"/>
                    <a:gd name="T52" fmla="*/ 1368 w 1421"/>
                    <a:gd name="T53" fmla="*/ 899 h 1419"/>
                    <a:gd name="T54" fmla="*/ 1288 w 1421"/>
                    <a:gd name="T55" fmla="*/ 913 h 1419"/>
                    <a:gd name="T56" fmla="*/ 1299 w 1421"/>
                    <a:gd name="T57" fmla="*/ 1015 h 1419"/>
                    <a:gd name="T58" fmla="*/ 1311 w 1421"/>
                    <a:gd name="T59" fmla="*/ 1093 h 1419"/>
                    <a:gd name="T60" fmla="*/ 1142 w 1421"/>
                    <a:gd name="T61" fmla="*/ 1282 h 1419"/>
                    <a:gd name="T62" fmla="*/ 1068 w 1421"/>
                    <a:gd name="T63" fmla="*/ 1312 h 1419"/>
                    <a:gd name="T64" fmla="*/ 994 w 1421"/>
                    <a:gd name="T65" fmla="*/ 1282 h 1419"/>
                    <a:gd name="T66" fmla="*/ 915 w 1421"/>
                    <a:gd name="T67" fmla="*/ 1315 h 1419"/>
                    <a:gd name="T68" fmla="*/ 884 w 1421"/>
                    <a:gd name="T69" fmla="*/ 1388 h 1419"/>
                    <a:gd name="T70" fmla="*/ 811 w 1421"/>
                    <a:gd name="T71" fmla="*/ 1419 h 1419"/>
                    <a:gd name="T72" fmla="*/ 558 w 1421"/>
                    <a:gd name="T73" fmla="*/ 1405 h 1419"/>
                    <a:gd name="T74" fmla="*/ 511 w 1421"/>
                    <a:gd name="T75" fmla="*/ 1342 h 1419"/>
                    <a:gd name="T76" fmla="*/ 446 w 1421"/>
                    <a:gd name="T77" fmla="*/ 1262 h 1419"/>
                    <a:gd name="T78" fmla="*/ 379 w 1421"/>
                    <a:gd name="T79" fmla="*/ 1309 h 1419"/>
                    <a:gd name="T80" fmla="*/ 302 w 1421"/>
                    <a:gd name="T81" fmla="*/ 1299 h 1419"/>
                    <a:gd name="T82" fmla="*/ 122 w 1421"/>
                    <a:gd name="T83" fmla="*/ 1119 h 1419"/>
                    <a:gd name="T84" fmla="*/ 110 w 1421"/>
                    <a:gd name="T85" fmla="*/ 1041 h 1419"/>
                    <a:gd name="T86" fmla="*/ 158 w 1421"/>
                    <a:gd name="T87" fmla="*/ 973 h 1419"/>
                    <a:gd name="T88" fmla="*/ 78 w 1421"/>
                    <a:gd name="T89" fmla="*/ 911 h 1419"/>
                    <a:gd name="T90" fmla="*/ 15 w 1421"/>
                    <a:gd name="T91" fmla="*/ 862 h 1419"/>
                    <a:gd name="T92" fmla="*/ 0 w 1421"/>
                    <a:gd name="T93" fmla="*/ 610 h 1419"/>
                    <a:gd name="T94" fmla="*/ 32 w 1421"/>
                    <a:gd name="T95" fmla="*/ 536 h 1419"/>
                    <a:gd name="T96" fmla="*/ 106 w 1421"/>
                    <a:gd name="T97" fmla="*/ 505 h 1419"/>
                    <a:gd name="T98" fmla="*/ 139 w 1421"/>
                    <a:gd name="T99" fmla="*/ 426 h 1419"/>
                    <a:gd name="T100" fmla="*/ 108 w 1421"/>
                    <a:gd name="T101" fmla="*/ 352 h 1419"/>
                    <a:gd name="T102" fmla="*/ 139 w 1421"/>
                    <a:gd name="T103" fmla="*/ 277 h 1419"/>
                    <a:gd name="T104" fmla="*/ 326 w 1421"/>
                    <a:gd name="T105" fmla="*/ 110 h 1419"/>
                    <a:gd name="T106" fmla="*/ 405 w 1421"/>
                    <a:gd name="T107" fmla="*/ 120 h 1419"/>
                    <a:gd name="T108" fmla="*/ 506 w 1421"/>
                    <a:gd name="T109" fmla="*/ 132 h 1419"/>
                    <a:gd name="T110" fmla="*/ 521 w 1421"/>
                    <a:gd name="T111" fmla="*/ 52 h 1419"/>
                    <a:gd name="T112" fmla="*/ 583 w 1421"/>
                    <a:gd name="T113" fmla="*/ 3 h 1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21" h="1419">
                      <a:moveTo>
                        <a:pt x="711" y="367"/>
                      </a:moveTo>
                      <a:lnTo>
                        <a:pt x="655" y="372"/>
                      </a:lnTo>
                      <a:lnTo>
                        <a:pt x="602" y="385"/>
                      </a:lnTo>
                      <a:lnTo>
                        <a:pt x="553" y="406"/>
                      </a:lnTo>
                      <a:lnTo>
                        <a:pt x="509" y="433"/>
                      </a:lnTo>
                      <a:lnTo>
                        <a:pt x="469" y="467"/>
                      </a:lnTo>
                      <a:lnTo>
                        <a:pt x="435" y="508"/>
                      </a:lnTo>
                      <a:lnTo>
                        <a:pt x="406" y="552"/>
                      </a:lnTo>
                      <a:lnTo>
                        <a:pt x="386" y="602"/>
                      </a:lnTo>
                      <a:lnTo>
                        <a:pt x="373" y="653"/>
                      </a:lnTo>
                      <a:lnTo>
                        <a:pt x="369" y="709"/>
                      </a:lnTo>
                      <a:lnTo>
                        <a:pt x="373" y="765"/>
                      </a:lnTo>
                      <a:lnTo>
                        <a:pt x="386" y="818"/>
                      </a:lnTo>
                      <a:lnTo>
                        <a:pt x="406" y="866"/>
                      </a:lnTo>
                      <a:lnTo>
                        <a:pt x="435" y="912"/>
                      </a:lnTo>
                      <a:lnTo>
                        <a:pt x="469" y="951"/>
                      </a:lnTo>
                      <a:lnTo>
                        <a:pt x="509" y="985"/>
                      </a:lnTo>
                      <a:lnTo>
                        <a:pt x="553" y="1013"/>
                      </a:lnTo>
                      <a:lnTo>
                        <a:pt x="602" y="1033"/>
                      </a:lnTo>
                      <a:lnTo>
                        <a:pt x="655" y="1046"/>
                      </a:lnTo>
                      <a:lnTo>
                        <a:pt x="711" y="1051"/>
                      </a:lnTo>
                      <a:lnTo>
                        <a:pt x="766" y="1046"/>
                      </a:lnTo>
                      <a:lnTo>
                        <a:pt x="819" y="1033"/>
                      </a:lnTo>
                      <a:lnTo>
                        <a:pt x="868" y="1013"/>
                      </a:lnTo>
                      <a:lnTo>
                        <a:pt x="912" y="985"/>
                      </a:lnTo>
                      <a:lnTo>
                        <a:pt x="952" y="951"/>
                      </a:lnTo>
                      <a:lnTo>
                        <a:pt x="986" y="912"/>
                      </a:lnTo>
                      <a:lnTo>
                        <a:pt x="1014" y="866"/>
                      </a:lnTo>
                      <a:lnTo>
                        <a:pt x="1035" y="818"/>
                      </a:lnTo>
                      <a:lnTo>
                        <a:pt x="1048" y="765"/>
                      </a:lnTo>
                      <a:lnTo>
                        <a:pt x="1052" y="709"/>
                      </a:lnTo>
                      <a:lnTo>
                        <a:pt x="1048" y="653"/>
                      </a:lnTo>
                      <a:lnTo>
                        <a:pt x="1035" y="602"/>
                      </a:lnTo>
                      <a:lnTo>
                        <a:pt x="1014" y="552"/>
                      </a:lnTo>
                      <a:lnTo>
                        <a:pt x="986" y="508"/>
                      </a:lnTo>
                      <a:lnTo>
                        <a:pt x="952" y="467"/>
                      </a:lnTo>
                      <a:lnTo>
                        <a:pt x="912" y="433"/>
                      </a:lnTo>
                      <a:lnTo>
                        <a:pt x="868" y="406"/>
                      </a:lnTo>
                      <a:lnTo>
                        <a:pt x="819" y="385"/>
                      </a:lnTo>
                      <a:lnTo>
                        <a:pt x="766" y="372"/>
                      </a:lnTo>
                      <a:lnTo>
                        <a:pt x="711" y="367"/>
                      </a:lnTo>
                      <a:close/>
                      <a:moveTo>
                        <a:pt x="611" y="0"/>
                      </a:moveTo>
                      <a:lnTo>
                        <a:pt x="811" y="0"/>
                      </a:lnTo>
                      <a:lnTo>
                        <a:pt x="838" y="3"/>
                      </a:lnTo>
                      <a:lnTo>
                        <a:pt x="864" y="14"/>
                      </a:lnTo>
                      <a:lnTo>
                        <a:pt x="884" y="30"/>
                      </a:lnTo>
                      <a:lnTo>
                        <a:pt x="901" y="52"/>
                      </a:lnTo>
                      <a:lnTo>
                        <a:pt x="911" y="76"/>
                      </a:lnTo>
                      <a:lnTo>
                        <a:pt x="915" y="104"/>
                      </a:lnTo>
                      <a:lnTo>
                        <a:pt x="915" y="132"/>
                      </a:lnTo>
                      <a:lnTo>
                        <a:pt x="975" y="156"/>
                      </a:lnTo>
                      <a:lnTo>
                        <a:pt x="994" y="137"/>
                      </a:lnTo>
                      <a:lnTo>
                        <a:pt x="1014" y="122"/>
                      </a:lnTo>
                      <a:lnTo>
                        <a:pt x="1032" y="113"/>
                      </a:lnTo>
                      <a:lnTo>
                        <a:pt x="1052" y="107"/>
                      </a:lnTo>
                      <a:lnTo>
                        <a:pt x="1069" y="107"/>
                      </a:lnTo>
                      <a:lnTo>
                        <a:pt x="1085" y="107"/>
                      </a:lnTo>
                      <a:lnTo>
                        <a:pt x="1095" y="110"/>
                      </a:lnTo>
                      <a:lnTo>
                        <a:pt x="1121" y="120"/>
                      </a:lnTo>
                      <a:lnTo>
                        <a:pt x="1142" y="137"/>
                      </a:lnTo>
                      <a:lnTo>
                        <a:pt x="1282" y="277"/>
                      </a:lnTo>
                      <a:lnTo>
                        <a:pt x="1299" y="300"/>
                      </a:lnTo>
                      <a:lnTo>
                        <a:pt x="1311" y="326"/>
                      </a:lnTo>
                      <a:lnTo>
                        <a:pt x="1314" y="352"/>
                      </a:lnTo>
                      <a:lnTo>
                        <a:pt x="1311" y="379"/>
                      </a:lnTo>
                      <a:lnTo>
                        <a:pt x="1299" y="403"/>
                      </a:lnTo>
                      <a:lnTo>
                        <a:pt x="1282" y="426"/>
                      </a:lnTo>
                      <a:lnTo>
                        <a:pt x="1264" y="445"/>
                      </a:lnTo>
                      <a:lnTo>
                        <a:pt x="1288" y="505"/>
                      </a:lnTo>
                      <a:lnTo>
                        <a:pt x="1315" y="505"/>
                      </a:lnTo>
                      <a:lnTo>
                        <a:pt x="1344" y="509"/>
                      </a:lnTo>
                      <a:lnTo>
                        <a:pt x="1368" y="519"/>
                      </a:lnTo>
                      <a:lnTo>
                        <a:pt x="1389" y="536"/>
                      </a:lnTo>
                      <a:lnTo>
                        <a:pt x="1407" y="558"/>
                      </a:lnTo>
                      <a:lnTo>
                        <a:pt x="1417" y="582"/>
                      </a:lnTo>
                      <a:lnTo>
                        <a:pt x="1421" y="610"/>
                      </a:lnTo>
                      <a:lnTo>
                        <a:pt x="1421" y="809"/>
                      </a:lnTo>
                      <a:lnTo>
                        <a:pt x="1417" y="836"/>
                      </a:lnTo>
                      <a:lnTo>
                        <a:pt x="1407" y="862"/>
                      </a:lnTo>
                      <a:lnTo>
                        <a:pt x="1389" y="883"/>
                      </a:lnTo>
                      <a:lnTo>
                        <a:pt x="1368" y="899"/>
                      </a:lnTo>
                      <a:lnTo>
                        <a:pt x="1344" y="911"/>
                      </a:lnTo>
                      <a:lnTo>
                        <a:pt x="1315" y="913"/>
                      </a:lnTo>
                      <a:lnTo>
                        <a:pt x="1288" y="913"/>
                      </a:lnTo>
                      <a:lnTo>
                        <a:pt x="1264" y="973"/>
                      </a:lnTo>
                      <a:lnTo>
                        <a:pt x="1282" y="993"/>
                      </a:lnTo>
                      <a:lnTo>
                        <a:pt x="1299" y="1015"/>
                      </a:lnTo>
                      <a:lnTo>
                        <a:pt x="1311" y="1041"/>
                      </a:lnTo>
                      <a:lnTo>
                        <a:pt x="1314" y="1066"/>
                      </a:lnTo>
                      <a:lnTo>
                        <a:pt x="1311" y="1093"/>
                      </a:lnTo>
                      <a:lnTo>
                        <a:pt x="1299" y="1119"/>
                      </a:lnTo>
                      <a:lnTo>
                        <a:pt x="1282" y="1141"/>
                      </a:lnTo>
                      <a:lnTo>
                        <a:pt x="1142" y="1282"/>
                      </a:lnTo>
                      <a:lnTo>
                        <a:pt x="1119" y="1299"/>
                      </a:lnTo>
                      <a:lnTo>
                        <a:pt x="1095" y="1309"/>
                      </a:lnTo>
                      <a:lnTo>
                        <a:pt x="1068" y="1312"/>
                      </a:lnTo>
                      <a:lnTo>
                        <a:pt x="1042" y="1309"/>
                      </a:lnTo>
                      <a:lnTo>
                        <a:pt x="1016" y="1299"/>
                      </a:lnTo>
                      <a:lnTo>
                        <a:pt x="994" y="1282"/>
                      </a:lnTo>
                      <a:lnTo>
                        <a:pt x="975" y="1262"/>
                      </a:lnTo>
                      <a:lnTo>
                        <a:pt x="915" y="1288"/>
                      </a:lnTo>
                      <a:lnTo>
                        <a:pt x="915" y="1315"/>
                      </a:lnTo>
                      <a:lnTo>
                        <a:pt x="911" y="1342"/>
                      </a:lnTo>
                      <a:lnTo>
                        <a:pt x="901" y="1368"/>
                      </a:lnTo>
                      <a:lnTo>
                        <a:pt x="884" y="1388"/>
                      </a:lnTo>
                      <a:lnTo>
                        <a:pt x="864" y="1405"/>
                      </a:lnTo>
                      <a:lnTo>
                        <a:pt x="838" y="1415"/>
                      </a:lnTo>
                      <a:lnTo>
                        <a:pt x="811" y="1419"/>
                      </a:lnTo>
                      <a:lnTo>
                        <a:pt x="611" y="1419"/>
                      </a:lnTo>
                      <a:lnTo>
                        <a:pt x="583" y="1415"/>
                      </a:lnTo>
                      <a:lnTo>
                        <a:pt x="558" y="1405"/>
                      </a:lnTo>
                      <a:lnTo>
                        <a:pt x="538" y="1388"/>
                      </a:lnTo>
                      <a:lnTo>
                        <a:pt x="521" y="1368"/>
                      </a:lnTo>
                      <a:lnTo>
                        <a:pt x="511" y="1342"/>
                      </a:lnTo>
                      <a:lnTo>
                        <a:pt x="506" y="1315"/>
                      </a:lnTo>
                      <a:lnTo>
                        <a:pt x="506" y="1288"/>
                      </a:lnTo>
                      <a:lnTo>
                        <a:pt x="446" y="1262"/>
                      </a:lnTo>
                      <a:lnTo>
                        <a:pt x="428" y="1282"/>
                      </a:lnTo>
                      <a:lnTo>
                        <a:pt x="405" y="1299"/>
                      </a:lnTo>
                      <a:lnTo>
                        <a:pt x="379" y="1309"/>
                      </a:lnTo>
                      <a:lnTo>
                        <a:pt x="353" y="1312"/>
                      </a:lnTo>
                      <a:lnTo>
                        <a:pt x="326" y="1309"/>
                      </a:lnTo>
                      <a:lnTo>
                        <a:pt x="302" y="1299"/>
                      </a:lnTo>
                      <a:lnTo>
                        <a:pt x="279" y="1282"/>
                      </a:lnTo>
                      <a:lnTo>
                        <a:pt x="139" y="1141"/>
                      </a:lnTo>
                      <a:lnTo>
                        <a:pt x="122" y="1119"/>
                      </a:lnTo>
                      <a:lnTo>
                        <a:pt x="110" y="1093"/>
                      </a:lnTo>
                      <a:lnTo>
                        <a:pt x="108" y="1066"/>
                      </a:lnTo>
                      <a:lnTo>
                        <a:pt x="110" y="1041"/>
                      </a:lnTo>
                      <a:lnTo>
                        <a:pt x="122" y="1015"/>
                      </a:lnTo>
                      <a:lnTo>
                        <a:pt x="139" y="993"/>
                      </a:lnTo>
                      <a:lnTo>
                        <a:pt x="158" y="973"/>
                      </a:lnTo>
                      <a:lnTo>
                        <a:pt x="133" y="913"/>
                      </a:lnTo>
                      <a:lnTo>
                        <a:pt x="106" y="913"/>
                      </a:lnTo>
                      <a:lnTo>
                        <a:pt x="78" y="911"/>
                      </a:lnTo>
                      <a:lnTo>
                        <a:pt x="53" y="899"/>
                      </a:lnTo>
                      <a:lnTo>
                        <a:pt x="32" y="883"/>
                      </a:lnTo>
                      <a:lnTo>
                        <a:pt x="15" y="862"/>
                      </a:lnTo>
                      <a:lnTo>
                        <a:pt x="5" y="836"/>
                      </a:lnTo>
                      <a:lnTo>
                        <a:pt x="0" y="809"/>
                      </a:lnTo>
                      <a:lnTo>
                        <a:pt x="0" y="610"/>
                      </a:lnTo>
                      <a:lnTo>
                        <a:pt x="5" y="582"/>
                      </a:lnTo>
                      <a:lnTo>
                        <a:pt x="15" y="558"/>
                      </a:lnTo>
                      <a:lnTo>
                        <a:pt x="32" y="536"/>
                      </a:lnTo>
                      <a:lnTo>
                        <a:pt x="53" y="519"/>
                      </a:lnTo>
                      <a:lnTo>
                        <a:pt x="78" y="509"/>
                      </a:lnTo>
                      <a:lnTo>
                        <a:pt x="106" y="505"/>
                      </a:lnTo>
                      <a:lnTo>
                        <a:pt x="133" y="505"/>
                      </a:lnTo>
                      <a:lnTo>
                        <a:pt x="158" y="445"/>
                      </a:lnTo>
                      <a:lnTo>
                        <a:pt x="139" y="426"/>
                      </a:lnTo>
                      <a:lnTo>
                        <a:pt x="122" y="403"/>
                      </a:lnTo>
                      <a:lnTo>
                        <a:pt x="110" y="379"/>
                      </a:lnTo>
                      <a:lnTo>
                        <a:pt x="108" y="352"/>
                      </a:lnTo>
                      <a:lnTo>
                        <a:pt x="110" y="326"/>
                      </a:lnTo>
                      <a:lnTo>
                        <a:pt x="122" y="300"/>
                      </a:lnTo>
                      <a:lnTo>
                        <a:pt x="139" y="277"/>
                      </a:lnTo>
                      <a:lnTo>
                        <a:pt x="279" y="137"/>
                      </a:lnTo>
                      <a:lnTo>
                        <a:pt x="302" y="120"/>
                      </a:lnTo>
                      <a:lnTo>
                        <a:pt x="326" y="110"/>
                      </a:lnTo>
                      <a:lnTo>
                        <a:pt x="353" y="106"/>
                      </a:lnTo>
                      <a:lnTo>
                        <a:pt x="379" y="110"/>
                      </a:lnTo>
                      <a:lnTo>
                        <a:pt x="405" y="120"/>
                      </a:lnTo>
                      <a:lnTo>
                        <a:pt x="428" y="137"/>
                      </a:lnTo>
                      <a:lnTo>
                        <a:pt x="446" y="156"/>
                      </a:lnTo>
                      <a:lnTo>
                        <a:pt x="506" y="132"/>
                      </a:lnTo>
                      <a:lnTo>
                        <a:pt x="506" y="104"/>
                      </a:lnTo>
                      <a:lnTo>
                        <a:pt x="511" y="76"/>
                      </a:lnTo>
                      <a:lnTo>
                        <a:pt x="521" y="52"/>
                      </a:lnTo>
                      <a:lnTo>
                        <a:pt x="538" y="30"/>
                      </a:lnTo>
                      <a:lnTo>
                        <a:pt x="558" y="14"/>
                      </a:lnTo>
                      <a:lnTo>
                        <a:pt x="583" y="3"/>
                      </a:lnTo>
                      <a:lnTo>
                        <a:pt x="61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" name="Freeform 162"/>
                <p:cNvSpPr>
                  <a:spLocks noEditPoints="1"/>
                </p:cNvSpPr>
                <p:nvPr/>
              </p:nvSpPr>
              <p:spPr bwMode="auto">
                <a:xfrm>
                  <a:off x="5571" y="2763"/>
                  <a:ext cx="598" cy="598"/>
                </a:xfrm>
                <a:custGeom>
                  <a:avLst/>
                  <a:gdLst>
                    <a:gd name="T0" fmla="*/ 506 w 1194"/>
                    <a:gd name="T1" fmla="*/ 324 h 1196"/>
                    <a:gd name="T2" fmla="*/ 393 w 1194"/>
                    <a:gd name="T3" fmla="*/ 394 h 1196"/>
                    <a:gd name="T4" fmla="*/ 324 w 1194"/>
                    <a:gd name="T5" fmla="*/ 507 h 1196"/>
                    <a:gd name="T6" fmla="*/ 313 w 1194"/>
                    <a:gd name="T7" fmla="*/ 644 h 1196"/>
                    <a:gd name="T8" fmla="*/ 364 w 1194"/>
                    <a:gd name="T9" fmla="*/ 767 h 1196"/>
                    <a:gd name="T10" fmla="*/ 464 w 1194"/>
                    <a:gd name="T11" fmla="*/ 853 h 1196"/>
                    <a:gd name="T12" fmla="*/ 597 w 1194"/>
                    <a:gd name="T13" fmla="*/ 886 h 1196"/>
                    <a:gd name="T14" fmla="*/ 729 w 1194"/>
                    <a:gd name="T15" fmla="*/ 853 h 1196"/>
                    <a:gd name="T16" fmla="*/ 829 w 1194"/>
                    <a:gd name="T17" fmla="*/ 767 h 1196"/>
                    <a:gd name="T18" fmla="*/ 881 w 1194"/>
                    <a:gd name="T19" fmla="*/ 644 h 1196"/>
                    <a:gd name="T20" fmla="*/ 870 w 1194"/>
                    <a:gd name="T21" fmla="*/ 507 h 1196"/>
                    <a:gd name="T22" fmla="*/ 800 w 1194"/>
                    <a:gd name="T23" fmla="*/ 394 h 1196"/>
                    <a:gd name="T24" fmla="*/ 689 w 1194"/>
                    <a:gd name="T25" fmla="*/ 324 h 1196"/>
                    <a:gd name="T26" fmla="*/ 513 w 1194"/>
                    <a:gd name="T27" fmla="*/ 0 h 1196"/>
                    <a:gd name="T28" fmla="*/ 726 w 1194"/>
                    <a:gd name="T29" fmla="*/ 11 h 1196"/>
                    <a:gd name="T30" fmla="*/ 766 w 1194"/>
                    <a:gd name="T31" fmla="*/ 64 h 1196"/>
                    <a:gd name="T32" fmla="*/ 820 w 1194"/>
                    <a:gd name="T33" fmla="*/ 131 h 1196"/>
                    <a:gd name="T34" fmla="*/ 876 w 1194"/>
                    <a:gd name="T35" fmla="*/ 93 h 1196"/>
                    <a:gd name="T36" fmla="*/ 941 w 1194"/>
                    <a:gd name="T37" fmla="*/ 101 h 1196"/>
                    <a:gd name="T38" fmla="*/ 1093 w 1194"/>
                    <a:gd name="T39" fmla="*/ 253 h 1196"/>
                    <a:gd name="T40" fmla="*/ 1102 w 1194"/>
                    <a:gd name="T41" fmla="*/ 319 h 1196"/>
                    <a:gd name="T42" fmla="*/ 1063 w 1194"/>
                    <a:gd name="T43" fmla="*/ 376 h 1196"/>
                    <a:gd name="T44" fmla="*/ 1130 w 1194"/>
                    <a:gd name="T45" fmla="*/ 429 h 1196"/>
                    <a:gd name="T46" fmla="*/ 1183 w 1194"/>
                    <a:gd name="T47" fmla="*/ 469 h 1196"/>
                    <a:gd name="T48" fmla="*/ 1194 w 1194"/>
                    <a:gd name="T49" fmla="*/ 682 h 1196"/>
                    <a:gd name="T50" fmla="*/ 1169 w 1194"/>
                    <a:gd name="T51" fmla="*/ 743 h 1196"/>
                    <a:gd name="T52" fmla="*/ 1106 w 1194"/>
                    <a:gd name="T53" fmla="*/ 770 h 1196"/>
                    <a:gd name="T54" fmla="*/ 1079 w 1194"/>
                    <a:gd name="T55" fmla="*/ 836 h 1196"/>
                    <a:gd name="T56" fmla="*/ 1104 w 1194"/>
                    <a:gd name="T57" fmla="*/ 899 h 1196"/>
                    <a:gd name="T58" fmla="*/ 1079 w 1194"/>
                    <a:gd name="T59" fmla="*/ 962 h 1196"/>
                    <a:gd name="T60" fmla="*/ 920 w 1194"/>
                    <a:gd name="T61" fmla="*/ 1103 h 1196"/>
                    <a:gd name="T62" fmla="*/ 854 w 1194"/>
                    <a:gd name="T63" fmla="*/ 1095 h 1196"/>
                    <a:gd name="T64" fmla="*/ 769 w 1194"/>
                    <a:gd name="T65" fmla="*/ 1085 h 1196"/>
                    <a:gd name="T66" fmla="*/ 757 w 1194"/>
                    <a:gd name="T67" fmla="*/ 1152 h 1196"/>
                    <a:gd name="T68" fmla="*/ 704 w 1194"/>
                    <a:gd name="T69" fmla="*/ 1192 h 1196"/>
                    <a:gd name="T70" fmla="*/ 490 w 1194"/>
                    <a:gd name="T71" fmla="*/ 1192 h 1196"/>
                    <a:gd name="T72" fmla="*/ 437 w 1194"/>
                    <a:gd name="T73" fmla="*/ 1152 h 1196"/>
                    <a:gd name="T74" fmla="*/ 426 w 1194"/>
                    <a:gd name="T75" fmla="*/ 1085 h 1196"/>
                    <a:gd name="T76" fmla="*/ 340 w 1194"/>
                    <a:gd name="T77" fmla="*/ 1095 h 1196"/>
                    <a:gd name="T78" fmla="*/ 274 w 1194"/>
                    <a:gd name="T79" fmla="*/ 1103 h 1196"/>
                    <a:gd name="T80" fmla="*/ 115 w 1194"/>
                    <a:gd name="T81" fmla="*/ 962 h 1196"/>
                    <a:gd name="T82" fmla="*/ 90 w 1194"/>
                    <a:gd name="T83" fmla="*/ 899 h 1196"/>
                    <a:gd name="T84" fmla="*/ 115 w 1194"/>
                    <a:gd name="T85" fmla="*/ 836 h 1196"/>
                    <a:gd name="T86" fmla="*/ 87 w 1194"/>
                    <a:gd name="T87" fmla="*/ 770 h 1196"/>
                    <a:gd name="T88" fmla="*/ 25 w 1194"/>
                    <a:gd name="T89" fmla="*/ 743 h 1196"/>
                    <a:gd name="T90" fmla="*/ 0 w 1194"/>
                    <a:gd name="T91" fmla="*/ 682 h 1196"/>
                    <a:gd name="T92" fmla="*/ 11 w 1194"/>
                    <a:gd name="T93" fmla="*/ 469 h 1196"/>
                    <a:gd name="T94" fmla="*/ 64 w 1194"/>
                    <a:gd name="T95" fmla="*/ 429 h 1196"/>
                    <a:gd name="T96" fmla="*/ 131 w 1194"/>
                    <a:gd name="T97" fmla="*/ 376 h 1196"/>
                    <a:gd name="T98" fmla="*/ 93 w 1194"/>
                    <a:gd name="T99" fmla="*/ 319 h 1196"/>
                    <a:gd name="T100" fmla="*/ 101 w 1194"/>
                    <a:gd name="T101" fmla="*/ 253 h 1196"/>
                    <a:gd name="T102" fmla="*/ 253 w 1194"/>
                    <a:gd name="T103" fmla="*/ 101 h 1196"/>
                    <a:gd name="T104" fmla="*/ 318 w 1194"/>
                    <a:gd name="T105" fmla="*/ 93 h 1196"/>
                    <a:gd name="T106" fmla="*/ 374 w 1194"/>
                    <a:gd name="T107" fmla="*/ 131 h 1196"/>
                    <a:gd name="T108" fmla="*/ 428 w 1194"/>
                    <a:gd name="T109" fmla="*/ 64 h 1196"/>
                    <a:gd name="T110" fmla="*/ 468 w 1194"/>
                    <a:gd name="T111" fmla="*/ 11 h 1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94" h="1196">
                      <a:moveTo>
                        <a:pt x="597" y="310"/>
                      </a:moveTo>
                      <a:lnTo>
                        <a:pt x="550" y="313"/>
                      </a:lnTo>
                      <a:lnTo>
                        <a:pt x="506" y="324"/>
                      </a:lnTo>
                      <a:lnTo>
                        <a:pt x="464" y="341"/>
                      </a:lnTo>
                      <a:lnTo>
                        <a:pt x="427" y="366"/>
                      </a:lnTo>
                      <a:lnTo>
                        <a:pt x="393" y="394"/>
                      </a:lnTo>
                      <a:lnTo>
                        <a:pt x="364" y="427"/>
                      </a:lnTo>
                      <a:lnTo>
                        <a:pt x="341" y="466"/>
                      </a:lnTo>
                      <a:lnTo>
                        <a:pt x="324" y="507"/>
                      </a:lnTo>
                      <a:lnTo>
                        <a:pt x="313" y="552"/>
                      </a:lnTo>
                      <a:lnTo>
                        <a:pt x="308" y="597"/>
                      </a:lnTo>
                      <a:lnTo>
                        <a:pt x="313" y="644"/>
                      </a:lnTo>
                      <a:lnTo>
                        <a:pt x="324" y="689"/>
                      </a:lnTo>
                      <a:lnTo>
                        <a:pt x="341" y="730"/>
                      </a:lnTo>
                      <a:lnTo>
                        <a:pt x="364" y="767"/>
                      </a:lnTo>
                      <a:lnTo>
                        <a:pt x="393" y="802"/>
                      </a:lnTo>
                      <a:lnTo>
                        <a:pt x="427" y="830"/>
                      </a:lnTo>
                      <a:lnTo>
                        <a:pt x="464" y="853"/>
                      </a:lnTo>
                      <a:lnTo>
                        <a:pt x="506" y="870"/>
                      </a:lnTo>
                      <a:lnTo>
                        <a:pt x="550" y="882"/>
                      </a:lnTo>
                      <a:lnTo>
                        <a:pt x="597" y="886"/>
                      </a:lnTo>
                      <a:lnTo>
                        <a:pt x="644" y="882"/>
                      </a:lnTo>
                      <a:lnTo>
                        <a:pt x="689" y="870"/>
                      </a:lnTo>
                      <a:lnTo>
                        <a:pt x="729" y="853"/>
                      </a:lnTo>
                      <a:lnTo>
                        <a:pt x="767" y="830"/>
                      </a:lnTo>
                      <a:lnTo>
                        <a:pt x="800" y="802"/>
                      </a:lnTo>
                      <a:lnTo>
                        <a:pt x="829" y="767"/>
                      </a:lnTo>
                      <a:lnTo>
                        <a:pt x="853" y="730"/>
                      </a:lnTo>
                      <a:lnTo>
                        <a:pt x="870" y="689"/>
                      </a:lnTo>
                      <a:lnTo>
                        <a:pt x="881" y="644"/>
                      </a:lnTo>
                      <a:lnTo>
                        <a:pt x="884" y="597"/>
                      </a:lnTo>
                      <a:lnTo>
                        <a:pt x="881" y="552"/>
                      </a:lnTo>
                      <a:lnTo>
                        <a:pt x="870" y="507"/>
                      </a:lnTo>
                      <a:lnTo>
                        <a:pt x="853" y="466"/>
                      </a:lnTo>
                      <a:lnTo>
                        <a:pt x="829" y="427"/>
                      </a:lnTo>
                      <a:lnTo>
                        <a:pt x="800" y="394"/>
                      </a:lnTo>
                      <a:lnTo>
                        <a:pt x="767" y="366"/>
                      </a:lnTo>
                      <a:lnTo>
                        <a:pt x="729" y="341"/>
                      </a:lnTo>
                      <a:lnTo>
                        <a:pt x="689" y="324"/>
                      </a:lnTo>
                      <a:lnTo>
                        <a:pt x="644" y="313"/>
                      </a:lnTo>
                      <a:lnTo>
                        <a:pt x="597" y="310"/>
                      </a:lnTo>
                      <a:close/>
                      <a:moveTo>
                        <a:pt x="513" y="0"/>
                      </a:moveTo>
                      <a:lnTo>
                        <a:pt x="681" y="0"/>
                      </a:lnTo>
                      <a:lnTo>
                        <a:pt x="704" y="3"/>
                      </a:lnTo>
                      <a:lnTo>
                        <a:pt x="726" y="11"/>
                      </a:lnTo>
                      <a:lnTo>
                        <a:pt x="743" y="26"/>
                      </a:lnTo>
                      <a:lnTo>
                        <a:pt x="757" y="43"/>
                      </a:lnTo>
                      <a:lnTo>
                        <a:pt x="766" y="64"/>
                      </a:lnTo>
                      <a:lnTo>
                        <a:pt x="769" y="88"/>
                      </a:lnTo>
                      <a:lnTo>
                        <a:pt x="769" y="111"/>
                      </a:lnTo>
                      <a:lnTo>
                        <a:pt x="820" y="131"/>
                      </a:lnTo>
                      <a:lnTo>
                        <a:pt x="836" y="116"/>
                      </a:lnTo>
                      <a:lnTo>
                        <a:pt x="854" y="101"/>
                      </a:lnTo>
                      <a:lnTo>
                        <a:pt x="876" y="93"/>
                      </a:lnTo>
                      <a:lnTo>
                        <a:pt x="899" y="90"/>
                      </a:lnTo>
                      <a:lnTo>
                        <a:pt x="920" y="93"/>
                      </a:lnTo>
                      <a:lnTo>
                        <a:pt x="941" y="101"/>
                      </a:lnTo>
                      <a:lnTo>
                        <a:pt x="960" y="116"/>
                      </a:lnTo>
                      <a:lnTo>
                        <a:pt x="1079" y="234"/>
                      </a:lnTo>
                      <a:lnTo>
                        <a:pt x="1093" y="253"/>
                      </a:lnTo>
                      <a:lnTo>
                        <a:pt x="1102" y="274"/>
                      </a:lnTo>
                      <a:lnTo>
                        <a:pt x="1104" y="297"/>
                      </a:lnTo>
                      <a:lnTo>
                        <a:pt x="1102" y="319"/>
                      </a:lnTo>
                      <a:lnTo>
                        <a:pt x="1093" y="340"/>
                      </a:lnTo>
                      <a:lnTo>
                        <a:pt x="1079" y="359"/>
                      </a:lnTo>
                      <a:lnTo>
                        <a:pt x="1063" y="376"/>
                      </a:lnTo>
                      <a:lnTo>
                        <a:pt x="1083" y="426"/>
                      </a:lnTo>
                      <a:lnTo>
                        <a:pt x="1106" y="426"/>
                      </a:lnTo>
                      <a:lnTo>
                        <a:pt x="1130" y="429"/>
                      </a:lnTo>
                      <a:lnTo>
                        <a:pt x="1152" y="437"/>
                      </a:lnTo>
                      <a:lnTo>
                        <a:pt x="1169" y="451"/>
                      </a:lnTo>
                      <a:lnTo>
                        <a:pt x="1183" y="469"/>
                      </a:lnTo>
                      <a:lnTo>
                        <a:pt x="1192" y="490"/>
                      </a:lnTo>
                      <a:lnTo>
                        <a:pt x="1194" y="514"/>
                      </a:lnTo>
                      <a:lnTo>
                        <a:pt x="1194" y="682"/>
                      </a:lnTo>
                      <a:lnTo>
                        <a:pt x="1192" y="704"/>
                      </a:lnTo>
                      <a:lnTo>
                        <a:pt x="1183" y="726"/>
                      </a:lnTo>
                      <a:lnTo>
                        <a:pt x="1169" y="743"/>
                      </a:lnTo>
                      <a:lnTo>
                        <a:pt x="1152" y="757"/>
                      </a:lnTo>
                      <a:lnTo>
                        <a:pt x="1130" y="766"/>
                      </a:lnTo>
                      <a:lnTo>
                        <a:pt x="1106" y="770"/>
                      </a:lnTo>
                      <a:lnTo>
                        <a:pt x="1083" y="770"/>
                      </a:lnTo>
                      <a:lnTo>
                        <a:pt x="1063" y="820"/>
                      </a:lnTo>
                      <a:lnTo>
                        <a:pt x="1079" y="836"/>
                      </a:lnTo>
                      <a:lnTo>
                        <a:pt x="1093" y="854"/>
                      </a:lnTo>
                      <a:lnTo>
                        <a:pt x="1102" y="876"/>
                      </a:lnTo>
                      <a:lnTo>
                        <a:pt x="1104" y="899"/>
                      </a:lnTo>
                      <a:lnTo>
                        <a:pt x="1102" y="922"/>
                      </a:lnTo>
                      <a:lnTo>
                        <a:pt x="1093" y="942"/>
                      </a:lnTo>
                      <a:lnTo>
                        <a:pt x="1079" y="962"/>
                      </a:lnTo>
                      <a:lnTo>
                        <a:pt x="960" y="1079"/>
                      </a:lnTo>
                      <a:lnTo>
                        <a:pt x="941" y="1095"/>
                      </a:lnTo>
                      <a:lnTo>
                        <a:pt x="920" y="1103"/>
                      </a:lnTo>
                      <a:lnTo>
                        <a:pt x="899" y="1106"/>
                      </a:lnTo>
                      <a:lnTo>
                        <a:pt x="876" y="1103"/>
                      </a:lnTo>
                      <a:lnTo>
                        <a:pt x="854" y="1095"/>
                      </a:lnTo>
                      <a:lnTo>
                        <a:pt x="836" y="1079"/>
                      </a:lnTo>
                      <a:lnTo>
                        <a:pt x="820" y="1063"/>
                      </a:lnTo>
                      <a:lnTo>
                        <a:pt x="769" y="1085"/>
                      </a:lnTo>
                      <a:lnTo>
                        <a:pt x="769" y="1107"/>
                      </a:lnTo>
                      <a:lnTo>
                        <a:pt x="766" y="1130"/>
                      </a:lnTo>
                      <a:lnTo>
                        <a:pt x="757" y="1152"/>
                      </a:lnTo>
                      <a:lnTo>
                        <a:pt x="743" y="1169"/>
                      </a:lnTo>
                      <a:lnTo>
                        <a:pt x="726" y="1183"/>
                      </a:lnTo>
                      <a:lnTo>
                        <a:pt x="704" y="1192"/>
                      </a:lnTo>
                      <a:lnTo>
                        <a:pt x="681" y="1196"/>
                      </a:lnTo>
                      <a:lnTo>
                        <a:pt x="513" y="1196"/>
                      </a:lnTo>
                      <a:lnTo>
                        <a:pt x="490" y="1192"/>
                      </a:lnTo>
                      <a:lnTo>
                        <a:pt x="468" y="1183"/>
                      </a:lnTo>
                      <a:lnTo>
                        <a:pt x="451" y="1169"/>
                      </a:lnTo>
                      <a:lnTo>
                        <a:pt x="437" y="1152"/>
                      </a:lnTo>
                      <a:lnTo>
                        <a:pt x="428" y="1130"/>
                      </a:lnTo>
                      <a:lnTo>
                        <a:pt x="426" y="1107"/>
                      </a:lnTo>
                      <a:lnTo>
                        <a:pt x="426" y="1085"/>
                      </a:lnTo>
                      <a:lnTo>
                        <a:pt x="374" y="1063"/>
                      </a:lnTo>
                      <a:lnTo>
                        <a:pt x="358" y="1079"/>
                      </a:lnTo>
                      <a:lnTo>
                        <a:pt x="340" y="1095"/>
                      </a:lnTo>
                      <a:lnTo>
                        <a:pt x="318" y="1103"/>
                      </a:lnTo>
                      <a:lnTo>
                        <a:pt x="296" y="1106"/>
                      </a:lnTo>
                      <a:lnTo>
                        <a:pt x="274" y="1103"/>
                      </a:lnTo>
                      <a:lnTo>
                        <a:pt x="253" y="1095"/>
                      </a:lnTo>
                      <a:lnTo>
                        <a:pt x="234" y="1079"/>
                      </a:lnTo>
                      <a:lnTo>
                        <a:pt x="115" y="962"/>
                      </a:lnTo>
                      <a:lnTo>
                        <a:pt x="101" y="942"/>
                      </a:lnTo>
                      <a:lnTo>
                        <a:pt x="93" y="922"/>
                      </a:lnTo>
                      <a:lnTo>
                        <a:pt x="90" y="899"/>
                      </a:lnTo>
                      <a:lnTo>
                        <a:pt x="93" y="876"/>
                      </a:lnTo>
                      <a:lnTo>
                        <a:pt x="101" y="854"/>
                      </a:lnTo>
                      <a:lnTo>
                        <a:pt x="115" y="836"/>
                      </a:lnTo>
                      <a:lnTo>
                        <a:pt x="131" y="820"/>
                      </a:lnTo>
                      <a:lnTo>
                        <a:pt x="110" y="770"/>
                      </a:lnTo>
                      <a:lnTo>
                        <a:pt x="87" y="770"/>
                      </a:lnTo>
                      <a:lnTo>
                        <a:pt x="64" y="766"/>
                      </a:lnTo>
                      <a:lnTo>
                        <a:pt x="43" y="757"/>
                      </a:lnTo>
                      <a:lnTo>
                        <a:pt x="25" y="743"/>
                      </a:lnTo>
                      <a:lnTo>
                        <a:pt x="11" y="726"/>
                      </a:lnTo>
                      <a:lnTo>
                        <a:pt x="3" y="704"/>
                      </a:lnTo>
                      <a:lnTo>
                        <a:pt x="0" y="682"/>
                      </a:lnTo>
                      <a:lnTo>
                        <a:pt x="0" y="514"/>
                      </a:lnTo>
                      <a:lnTo>
                        <a:pt x="3" y="490"/>
                      </a:lnTo>
                      <a:lnTo>
                        <a:pt x="11" y="469"/>
                      </a:lnTo>
                      <a:lnTo>
                        <a:pt x="25" y="451"/>
                      </a:lnTo>
                      <a:lnTo>
                        <a:pt x="43" y="437"/>
                      </a:lnTo>
                      <a:lnTo>
                        <a:pt x="64" y="429"/>
                      </a:lnTo>
                      <a:lnTo>
                        <a:pt x="87" y="426"/>
                      </a:lnTo>
                      <a:lnTo>
                        <a:pt x="110" y="426"/>
                      </a:lnTo>
                      <a:lnTo>
                        <a:pt x="131" y="376"/>
                      </a:lnTo>
                      <a:lnTo>
                        <a:pt x="115" y="359"/>
                      </a:lnTo>
                      <a:lnTo>
                        <a:pt x="101" y="340"/>
                      </a:lnTo>
                      <a:lnTo>
                        <a:pt x="93" y="319"/>
                      </a:lnTo>
                      <a:lnTo>
                        <a:pt x="90" y="297"/>
                      </a:lnTo>
                      <a:lnTo>
                        <a:pt x="93" y="274"/>
                      </a:lnTo>
                      <a:lnTo>
                        <a:pt x="101" y="253"/>
                      </a:lnTo>
                      <a:lnTo>
                        <a:pt x="115" y="234"/>
                      </a:lnTo>
                      <a:lnTo>
                        <a:pt x="234" y="116"/>
                      </a:lnTo>
                      <a:lnTo>
                        <a:pt x="253" y="101"/>
                      </a:lnTo>
                      <a:lnTo>
                        <a:pt x="274" y="93"/>
                      </a:lnTo>
                      <a:lnTo>
                        <a:pt x="296" y="90"/>
                      </a:lnTo>
                      <a:lnTo>
                        <a:pt x="318" y="93"/>
                      </a:lnTo>
                      <a:lnTo>
                        <a:pt x="340" y="101"/>
                      </a:lnTo>
                      <a:lnTo>
                        <a:pt x="358" y="116"/>
                      </a:lnTo>
                      <a:lnTo>
                        <a:pt x="374" y="131"/>
                      </a:lnTo>
                      <a:lnTo>
                        <a:pt x="426" y="111"/>
                      </a:lnTo>
                      <a:lnTo>
                        <a:pt x="426" y="88"/>
                      </a:lnTo>
                      <a:lnTo>
                        <a:pt x="428" y="64"/>
                      </a:lnTo>
                      <a:lnTo>
                        <a:pt x="437" y="43"/>
                      </a:lnTo>
                      <a:lnTo>
                        <a:pt x="451" y="26"/>
                      </a:lnTo>
                      <a:lnTo>
                        <a:pt x="468" y="11"/>
                      </a:lnTo>
                      <a:lnTo>
                        <a:pt x="490" y="3"/>
                      </a:lnTo>
                      <a:lnTo>
                        <a:pt x="51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09" name="Group 201"/>
              <p:cNvGrpSpPr>
                <a:grpSpLocks noChangeAspect="1"/>
              </p:cNvGrpSpPr>
              <p:nvPr/>
            </p:nvGrpSpPr>
            <p:grpSpPr bwMode="auto">
              <a:xfrm>
                <a:off x="3427234" y="5185076"/>
                <a:ext cx="548512" cy="615026"/>
                <a:chOff x="4176" y="3243"/>
                <a:chExt cx="602" cy="675"/>
              </a:xfrm>
              <a:solidFill>
                <a:schemeClr val="bg1"/>
              </a:solidFill>
            </p:grpSpPr>
            <p:sp>
              <p:nvSpPr>
                <p:cNvPr id="110" name="Freeform 203"/>
                <p:cNvSpPr>
                  <a:spLocks/>
                </p:cNvSpPr>
                <p:nvPr/>
              </p:nvSpPr>
              <p:spPr bwMode="auto">
                <a:xfrm>
                  <a:off x="4184" y="3243"/>
                  <a:ext cx="594" cy="675"/>
                </a:xfrm>
                <a:custGeom>
                  <a:avLst/>
                  <a:gdLst>
                    <a:gd name="T0" fmla="*/ 2818 w 2971"/>
                    <a:gd name="T1" fmla="*/ 0 h 3374"/>
                    <a:gd name="T2" fmla="*/ 2877 w 2971"/>
                    <a:gd name="T3" fmla="*/ 12 h 3374"/>
                    <a:gd name="T4" fmla="*/ 2926 w 2971"/>
                    <a:gd name="T5" fmla="*/ 45 h 3374"/>
                    <a:gd name="T6" fmla="*/ 2958 w 2971"/>
                    <a:gd name="T7" fmla="*/ 93 h 3374"/>
                    <a:gd name="T8" fmla="*/ 2971 w 2971"/>
                    <a:gd name="T9" fmla="*/ 154 h 3374"/>
                    <a:gd name="T10" fmla="*/ 2960 w 2971"/>
                    <a:gd name="T11" fmla="*/ 207 h 3374"/>
                    <a:gd name="T12" fmla="*/ 2934 w 2971"/>
                    <a:gd name="T13" fmla="*/ 252 h 3374"/>
                    <a:gd name="T14" fmla="*/ 2894 w 2971"/>
                    <a:gd name="T15" fmla="*/ 285 h 3374"/>
                    <a:gd name="T16" fmla="*/ 2892 w 2971"/>
                    <a:gd name="T17" fmla="*/ 2091 h 3374"/>
                    <a:gd name="T18" fmla="*/ 2872 w 2971"/>
                    <a:gd name="T19" fmla="*/ 2124 h 3374"/>
                    <a:gd name="T20" fmla="*/ 2838 w 2971"/>
                    <a:gd name="T21" fmla="*/ 2145 h 3374"/>
                    <a:gd name="T22" fmla="*/ 2197 w 2971"/>
                    <a:gd name="T23" fmla="*/ 2147 h 3374"/>
                    <a:gd name="T24" fmla="*/ 2475 w 2971"/>
                    <a:gd name="T25" fmla="*/ 3208 h 3374"/>
                    <a:gd name="T26" fmla="*/ 2469 w 2971"/>
                    <a:gd name="T27" fmla="*/ 3261 h 3374"/>
                    <a:gd name="T28" fmla="*/ 2448 w 2971"/>
                    <a:gd name="T29" fmla="*/ 3309 h 3374"/>
                    <a:gd name="T30" fmla="*/ 2411 w 2971"/>
                    <a:gd name="T31" fmla="*/ 3346 h 3374"/>
                    <a:gd name="T32" fmla="*/ 2362 w 2971"/>
                    <a:gd name="T33" fmla="*/ 3370 h 3374"/>
                    <a:gd name="T34" fmla="*/ 2323 w 2971"/>
                    <a:gd name="T35" fmla="*/ 3374 h 3374"/>
                    <a:gd name="T36" fmla="*/ 2267 w 2971"/>
                    <a:gd name="T37" fmla="*/ 3363 h 3374"/>
                    <a:gd name="T38" fmla="*/ 2220 w 2971"/>
                    <a:gd name="T39" fmla="*/ 3334 h 3374"/>
                    <a:gd name="T40" fmla="*/ 2186 w 2971"/>
                    <a:gd name="T41" fmla="*/ 3288 h 3374"/>
                    <a:gd name="T42" fmla="*/ 1902 w 2971"/>
                    <a:gd name="T43" fmla="*/ 2224 h 3374"/>
                    <a:gd name="T44" fmla="*/ 794 w 2971"/>
                    <a:gd name="T45" fmla="*/ 3260 h 3374"/>
                    <a:gd name="T46" fmla="*/ 771 w 2971"/>
                    <a:gd name="T47" fmla="*/ 3309 h 3374"/>
                    <a:gd name="T48" fmla="*/ 734 w 2971"/>
                    <a:gd name="T49" fmla="*/ 3346 h 3374"/>
                    <a:gd name="T50" fmla="*/ 687 w 2971"/>
                    <a:gd name="T51" fmla="*/ 3369 h 3374"/>
                    <a:gd name="T52" fmla="*/ 635 w 2971"/>
                    <a:gd name="T53" fmla="*/ 3374 h 3374"/>
                    <a:gd name="T54" fmla="*/ 581 w 2971"/>
                    <a:gd name="T55" fmla="*/ 3360 h 3374"/>
                    <a:gd name="T56" fmla="*/ 538 w 2971"/>
                    <a:gd name="T57" fmla="*/ 3329 h 3374"/>
                    <a:gd name="T58" fmla="*/ 509 w 2971"/>
                    <a:gd name="T59" fmla="*/ 3286 h 3374"/>
                    <a:gd name="T60" fmla="*/ 495 w 2971"/>
                    <a:gd name="T61" fmla="*/ 3236 h 3374"/>
                    <a:gd name="T62" fmla="*/ 500 w 2971"/>
                    <a:gd name="T63" fmla="*/ 3181 h 3374"/>
                    <a:gd name="T64" fmla="*/ 639 w 2971"/>
                    <a:gd name="T65" fmla="*/ 2147 h 3374"/>
                    <a:gd name="T66" fmla="*/ 729 w 2971"/>
                    <a:gd name="T67" fmla="*/ 2048 h 3374"/>
                    <a:gd name="T68" fmla="*/ 2742 w 2971"/>
                    <a:gd name="T69" fmla="*/ 1994 h 3374"/>
                    <a:gd name="T70" fmla="*/ 227 w 2971"/>
                    <a:gd name="T71" fmla="*/ 307 h 3374"/>
                    <a:gd name="T72" fmla="*/ 184 w 2971"/>
                    <a:gd name="T73" fmla="*/ 1953 h 3374"/>
                    <a:gd name="T74" fmla="*/ 108 w 2971"/>
                    <a:gd name="T75" fmla="*/ 2023 h 3374"/>
                    <a:gd name="T76" fmla="*/ 76 w 2971"/>
                    <a:gd name="T77" fmla="*/ 285 h 3374"/>
                    <a:gd name="T78" fmla="*/ 36 w 2971"/>
                    <a:gd name="T79" fmla="*/ 252 h 3374"/>
                    <a:gd name="T80" fmla="*/ 9 w 2971"/>
                    <a:gd name="T81" fmla="*/ 207 h 3374"/>
                    <a:gd name="T82" fmla="*/ 0 w 2971"/>
                    <a:gd name="T83" fmla="*/ 154 h 3374"/>
                    <a:gd name="T84" fmla="*/ 12 w 2971"/>
                    <a:gd name="T85" fmla="*/ 93 h 3374"/>
                    <a:gd name="T86" fmla="*/ 44 w 2971"/>
                    <a:gd name="T87" fmla="*/ 45 h 3374"/>
                    <a:gd name="T88" fmla="*/ 93 w 2971"/>
                    <a:gd name="T89" fmla="*/ 12 h 3374"/>
                    <a:gd name="T90" fmla="*/ 152 w 2971"/>
                    <a:gd name="T91" fmla="*/ 0 h 3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971" h="3374">
                      <a:moveTo>
                        <a:pt x="152" y="0"/>
                      </a:moveTo>
                      <a:lnTo>
                        <a:pt x="2818" y="0"/>
                      </a:lnTo>
                      <a:lnTo>
                        <a:pt x="2849" y="3"/>
                      </a:lnTo>
                      <a:lnTo>
                        <a:pt x="2877" y="12"/>
                      </a:lnTo>
                      <a:lnTo>
                        <a:pt x="2904" y="27"/>
                      </a:lnTo>
                      <a:lnTo>
                        <a:pt x="2926" y="45"/>
                      </a:lnTo>
                      <a:lnTo>
                        <a:pt x="2945" y="68"/>
                      </a:lnTo>
                      <a:lnTo>
                        <a:pt x="2958" y="93"/>
                      </a:lnTo>
                      <a:lnTo>
                        <a:pt x="2968" y="123"/>
                      </a:lnTo>
                      <a:lnTo>
                        <a:pt x="2971" y="154"/>
                      </a:lnTo>
                      <a:lnTo>
                        <a:pt x="2968" y="181"/>
                      </a:lnTo>
                      <a:lnTo>
                        <a:pt x="2960" y="207"/>
                      </a:lnTo>
                      <a:lnTo>
                        <a:pt x="2950" y="231"/>
                      </a:lnTo>
                      <a:lnTo>
                        <a:pt x="2934" y="252"/>
                      </a:lnTo>
                      <a:lnTo>
                        <a:pt x="2916" y="271"/>
                      </a:lnTo>
                      <a:lnTo>
                        <a:pt x="2894" y="285"/>
                      </a:lnTo>
                      <a:lnTo>
                        <a:pt x="2894" y="2070"/>
                      </a:lnTo>
                      <a:lnTo>
                        <a:pt x="2892" y="2091"/>
                      </a:lnTo>
                      <a:lnTo>
                        <a:pt x="2883" y="2110"/>
                      </a:lnTo>
                      <a:lnTo>
                        <a:pt x="2872" y="2124"/>
                      </a:lnTo>
                      <a:lnTo>
                        <a:pt x="2856" y="2137"/>
                      </a:lnTo>
                      <a:lnTo>
                        <a:pt x="2838" y="2145"/>
                      </a:lnTo>
                      <a:lnTo>
                        <a:pt x="2818" y="2147"/>
                      </a:lnTo>
                      <a:lnTo>
                        <a:pt x="2197" y="2147"/>
                      </a:lnTo>
                      <a:lnTo>
                        <a:pt x="2470" y="3181"/>
                      </a:lnTo>
                      <a:lnTo>
                        <a:pt x="2475" y="3208"/>
                      </a:lnTo>
                      <a:lnTo>
                        <a:pt x="2475" y="3235"/>
                      </a:lnTo>
                      <a:lnTo>
                        <a:pt x="2469" y="3261"/>
                      </a:lnTo>
                      <a:lnTo>
                        <a:pt x="2461" y="3286"/>
                      </a:lnTo>
                      <a:lnTo>
                        <a:pt x="2448" y="3309"/>
                      </a:lnTo>
                      <a:lnTo>
                        <a:pt x="2432" y="3329"/>
                      </a:lnTo>
                      <a:lnTo>
                        <a:pt x="2411" y="3346"/>
                      </a:lnTo>
                      <a:lnTo>
                        <a:pt x="2388" y="3360"/>
                      </a:lnTo>
                      <a:lnTo>
                        <a:pt x="2362" y="3370"/>
                      </a:lnTo>
                      <a:lnTo>
                        <a:pt x="2343" y="3373"/>
                      </a:lnTo>
                      <a:lnTo>
                        <a:pt x="2323" y="3374"/>
                      </a:lnTo>
                      <a:lnTo>
                        <a:pt x="2295" y="3372"/>
                      </a:lnTo>
                      <a:lnTo>
                        <a:pt x="2267" y="3363"/>
                      </a:lnTo>
                      <a:lnTo>
                        <a:pt x="2243" y="3351"/>
                      </a:lnTo>
                      <a:lnTo>
                        <a:pt x="2220" y="3334"/>
                      </a:lnTo>
                      <a:lnTo>
                        <a:pt x="2201" y="3313"/>
                      </a:lnTo>
                      <a:lnTo>
                        <a:pt x="2186" y="3288"/>
                      </a:lnTo>
                      <a:lnTo>
                        <a:pt x="2176" y="3260"/>
                      </a:lnTo>
                      <a:lnTo>
                        <a:pt x="1902" y="2224"/>
                      </a:lnTo>
                      <a:lnTo>
                        <a:pt x="1069" y="2224"/>
                      </a:lnTo>
                      <a:lnTo>
                        <a:pt x="794" y="3260"/>
                      </a:lnTo>
                      <a:lnTo>
                        <a:pt x="785" y="3287"/>
                      </a:lnTo>
                      <a:lnTo>
                        <a:pt x="771" y="3309"/>
                      </a:lnTo>
                      <a:lnTo>
                        <a:pt x="754" y="3329"/>
                      </a:lnTo>
                      <a:lnTo>
                        <a:pt x="734" y="3346"/>
                      </a:lnTo>
                      <a:lnTo>
                        <a:pt x="712" y="3360"/>
                      </a:lnTo>
                      <a:lnTo>
                        <a:pt x="687" y="3369"/>
                      </a:lnTo>
                      <a:lnTo>
                        <a:pt x="662" y="3374"/>
                      </a:lnTo>
                      <a:lnTo>
                        <a:pt x="635" y="3374"/>
                      </a:lnTo>
                      <a:lnTo>
                        <a:pt x="608" y="3370"/>
                      </a:lnTo>
                      <a:lnTo>
                        <a:pt x="581" y="3360"/>
                      </a:lnTo>
                      <a:lnTo>
                        <a:pt x="558" y="3346"/>
                      </a:lnTo>
                      <a:lnTo>
                        <a:pt x="538" y="3329"/>
                      </a:lnTo>
                      <a:lnTo>
                        <a:pt x="522" y="3309"/>
                      </a:lnTo>
                      <a:lnTo>
                        <a:pt x="509" y="3286"/>
                      </a:lnTo>
                      <a:lnTo>
                        <a:pt x="500" y="3261"/>
                      </a:lnTo>
                      <a:lnTo>
                        <a:pt x="495" y="3236"/>
                      </a:lnTo>
                      <a:lnTo>
                        <a:pt x="495" y="3208"/>
                      </a:lnTo>
                      <a:lnTo>
                        <a:pt x="500" y="3181"/>
                      </a:lnTo>
                      <a:lnTo>
                        <a:pt x="773" y="2147"/>
                      </a:lnTo>
                      <a:lnTo>
                        <a:pt x="639" y="2147"/>
                      </a:lnTo>
                      <a:lnTo>
                        <a:pt x="683" y="2099"/>
                      </a:lnTo>
                      <a:lnTo>
                        <a:pt x="729" y="2048"/>
                      </a:lnTo>
                      <a:lnTo>
                        <a:pt x="778" y="1994"/>
                      </a:lnTo>
                      <a:lnTo>
                        <a:pt x="2742" y="1994"/>
                      </a:lnTo>
                      <a:lnTo>
                        <a:pt x="2742" y="307"/>
                      </a:lnTo>
                      <a:lnTo>
                        <a:pt x="227" y="307"/>
                      </a:lnTo>
                      <a:lnTo>
                        <a:pt x="227" y="1912"/>
                      </a:lnTo>
                      <a:lnTo>
                        <a:pt x="184" y="1953"/>
                      </a:lnTo>
                      <a:lnTo>
                        <a:pt x="144" y="1989"/>
                      </a:lnTo>
                      <a:lnTo>
                        <a:pt x="108" y="2023"/>
                      </a:lnTo>
                      <a:lnTo>
                        <a:pt x="76" y="2052"/>
                      </a:lnTo>
                      <a:lnTo>
                        <a:pt x="76" y="285"/>
                      </a:lnTo>
                      <a:lnTo>
                        <a:pt x="55" y="271"/>
                      </a:lnTo>
                      <a:lnTo>
                        <a:pt x="36" y="252"/>
                      </a:lnTo>
                      <a:lnTo>
                        <a:pt x="21" y="231"/>
                      </a:lnTo>
                      <a:lnTo>
                        <a:pt x="9" y="207"/>
                      </a:lnTo>
                      <a:lnTo>
                        <a:pt x="2" y="181"/>
                      </a:lnTo>
                      <a:lnTo>
                        <a:pt x="0" y="154"/>
                      </a:lnTo>
                      <a:lnTo>
                        <a:pt x="3" y="123"/>
                      </a:lnTo>
                      <a:lnTo>
                        <a:pt x="12" y="93"/>
                      </a:lnTo>
                      <a:lnTo>
                        <a:pt x="25" y="68"/>
                      </a:lnTo>
                      <a:lnTo>
                        <a:pt x="44" y="45"/>
                      </a:lnTo>
                      <a:lnTo>
                        <a:pt x="66" y="27"/>
                      </a:lnTo>
                      <a:lnTo>
                        <a:pt x="93" y="12"/>
                      </a:lnTo>
                      <a:lnTo>
                        <a:pt x="121" y="3"/>
                      </a:lnTo>
                      <a:lnTo>
                        <a:pt x="15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1" name="Freeform 204"/>
                <p:cNvSpPr>
                  <a:spLocks/>
                </p:cNvSpPr>
                <p:nvPr/>
              </p:nvSpPr>
              <p:spPr bwMode="auto">
                <a:xfrm>
                  <a:off x="4443" y="3439"/>
                  <a:ext cx="60" cy="176"/>
                </a:xfrm>
                <a:custGeom>
                  <a:avLst/>
                  <a:gdLst>
                    <a:gd name="T0" fmla="*/ 153 w 304"/>
                    <a:gd name="T1" fmla="*/ 0 h 881"/>
                    <a:gd name="T2" fmla="*/ 183 w 304"/>
                    <a:gd name="T3" fmla="*/ 3 h 881"/>
                    <a:gd name="T4" fmla="*/ 211 w 304"/>
                    <a:gd name="T5" fmla="*/ 12 h 881"/>
                    <a:gd name="T6" fmla="*/ 237 w 304"/>
                    <a:gd name="T7" fmla="*/ 25 h 881"/>
                    <a:gd name="T8" fmla="*/ 260 w 304"/>
                    <a:gd name="T9" fmla="*/ 44 h 881"/>
                    <a:gd name="T10" fmla="*/ 278 w 304"/>
                    <a:gd name="T11" fmla="*/ 68 h 881"/>
                    <a:gd name="T12" fmla="*/ 293 w 304"/>
                    <a:gd name="T13" fmla="*/ 93 h 881"/>
                    <a:gd name="T14" fmla="*/ 301 w 304"/>
                    <a:gd name="T15" fmla="*/ 122 h 881"/>
                    <a:gd name="T16" fmla="*/ 304 w 304"/>
                    <a:gd name="T17" fmla="*/ 154 h 881"/>
                    <a:gd name="T18" fmla="*/ 304 w 304"/>
                    <a:gd name="T19" fmla="*/ 729 h 881"/>
                    <a:gd name="T20" fmla="*/ 301 w 304"/>
                    <a:gd name="T21" fmla="*/ 759 h 881"/>
                    <a:gd name="T22" fmla="*/ 293 w 304"/>
                    <a:gd name="T23" fmla="*/ 788 h 881"/>
                    <a:gd name="T24" fmla="*/ 278 w 304"/>
                    <a:gd name="T25" fmla="*/ 814 h 881"/>
                    <a:gd name="T26" fmla="*/ 260 w 304"/>
                    <a:gd name="T27" fmla="*/ 837 h 881"/>
                    <a:gd name="T28" fmla="*/ 237 w 304"/>
                    <a:gd name="T29" fmla="*/ 856 h 881"/>
                    <a:gd name="T30" fmla="*/ 211 w 304"/>
                    <a:gd name="T31" fmla="*/ 870 h 881"/>
                    <a:gd name="T32" fmla="*/ 183 w 304"/>
                    <a:gd name="T33" fmla="*/ 878 h 881"/>
                    <a:gd name="T34" fmla="*/ 153 w 304"/>
                    <a:gd name="T35" fmla="*/ 881 h 881"/>
                    <a:gd name="T36" fmla="*/ 121 w 304"/>
                    <a:gd name="T37" fmla="*/ 878 h 881"/>
                    <a:gd name="T38" fmla="*/ 92 w 304"/>
                    <a:gd name="T39" fmla="*/ 870 h 881"/>
                    <a:gd name="T40" fmla="*/ 67 w 304"/>
                    <a:gd name="T41" fmla="*/ 856 h 881"/>
                    <a:gd name="T42" fmla="*/ 44 w 304"/>
                    <a:gd name="T43" fmla="*/ 837 h 881"/>
                    <a:gd name="T44" fmla="*/ 26 w 304"/>
                    <a:gd name="T45" fmla="*/ 814 h 881"/>
                    <a:gd name="T46" fmla="*/ 11 w 304"/>
                    <a:gd name="T47" fmla="*/ 788 h 881"/>
                    <a:gd name="T48" fmla="*/ 3 w 304"/>
                    <a:gd name="T49" fmla="*/ 759 h 881"/>
                    <a:gd name="T50" fmla="*/ 0 w 304"/>
                    <a:gd name="T51" fmla="*/ 729 h 881"/>
                    <a:gd name="T52" fmla="*/ 0 w 304"/>
                    <a:gd name="T53" fmla="*/ 154 h 881"/>
                    <a:gd name="T54" fmla="*/ 3 w 304"/>
                    <a:gd name="T55" fmla="*/ 122 h 881"/>
                    <a:gd name="T56" fmla="*/ 11 w 304"/>
                    <a:gd name="T57" fmla="*/ 93 h 881"/>
                    <a:gd name="T58" fmla="*/ 26 w 304"/>
                    <a:gd name="T59" fmla="*/ 68 h 881"/>
                    <a:gd name="T60" fmla="*/ 44 w 304"/>
                    <a:gd name="T61" fmla="*/ 44 h 881"/>
                    <a:gd name="T62" fmla="*/ 67 w 304"/>
                    <a:gd name="T63" fmla="*/ 25 h 881"/>
                    <a:gd name="T64" fmla="*/ 92 w 304"/>
                    <a:gd name="T65" fmla="*/ 12 h 881"/>
                    <a:gd name="T66" fmla="*/ 121 w 304"/>
                    <a:gd name="T67" fmla="*/ 3 h 881"/>
                    <a:gd name="T68" fmla="*/ 153 w 304"/>
                    <a:gd name="T69" fmla="*/ 0 h 8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4" h="881">
                      <a:moveTo>
                        <a:pt x="153" y="0"/>
                      </a:moveTo>
                      <a:lnTo>
                        <a:pt x="183" y="3"/>
                      </a:lnTo>
                      <a:lnTo>
                        <a:pt x="211" y="12"/>
                      </a:lnTo>
                      <a:lnTo>
                        <a:pt x="237" y="25"/>
                      </a:lnTo>
                      <a:lnTo>
                        <a:pt x="260" y="44"/>
                      </a:lnTo>
                      <a:lnTo>
                        <a:pt x="278" y="68"/>
                      </a:lnTo>
                      <a:lnTo>
                        <a:pt x="293" y="93"/>
                      </a:lnTo>
                      <a:lnTo>
                        <a:pt x="301" y="122"/>
                      </a:lnTo>
                      <a:lnTo>
                        <a:pt x="304" y="154"/>
                      </a:lnTo>
                      <a:lnTo>
                        <a:pt x="304" y="729"/>
                      </a:lnTo>
                      <a:lnTo>
                        <a:pt x="301" y="759"/>
                      </a:lnTo>
                      <a:lnTo>
                        <a:pt x="293" y="788"/>
                      </a:lnTo>
                      <a:lnTo>
                        <a:pt x="278" y="814"/>
                      </a:lnTo>
                      <a:lnTo>
                        <a:pt x="260" y="837"/>
                      </a:lnTo>
                      <a:lnTo>
                        <a:pt x="237" y="856"/>
                      </a:lnTo>
                      <a:lnTo>
                        <a:pt x="211" y="870"/>
                      </a:lnTo>
                      <a:lnTo>
                        <a:pt x="183" y="878"/>
                      </a:lnTo>
                      <a:lnTo>
                        <a:pt x="153" y="881"/>
                      </a:lnTo>
                      <a:lnTo>
                        <a:pt x="121" y="878"/>
                      </a:lnTo>
                      <a:lnTo>
                        <a:pt x="92" y="870"/>
                      </a:lnTo>
                      <a:lnTo>
                        <a:pt x="67" y="856"/>
                      </a:lnTo>
                      <a:lnTo>
                        <a:pt x="44" y="837"/>
                      </a:lnTo>
                      <a:lnTo>
                        <a:pt x="26" y="814"/>
                      </a:lnTo>
                      <a:lnTo>
                        <a:pt x="11" y="788"/>
                      </a:lnTo>
                      <a:lnTo>
                        <a:pt x="3" y="759"/>
                      </a:lnTo>
                      <a:lnTo>
                        <a:pt x="0" y="729"/>
                      </a:lnTo>
                      <a:lnTo>
                        <a:pt x="0" y="154"/>
                      </a:lnTo>
                      <a:lnTo>
                        <a:pt x="3" y="122"/>
                      </a:lnTo>
                      <a:lnTo>
                        <a:pt x="11" y="93"/>
                      </a:lnTo>
                      <a:lnTo>
                        <a:pt x="26" y="68"/>
                      </a:lnTo>
                      <a:lnTo>
                        <a:pt x="44" y="44"/>
                      </a:lnTo>
                      <a:lnTo>
                        <a:pt x="67" y="25"/>
                      </a:lnTo>
                      <a:lnTo>
                        <a:pt x="92" y="12"/>
                      </a:lnTo>
                      <a:lnTo>
                        <a:pt x="121" y="3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2" name="Freeform 205"/>
                <p:cNvSpPr>
                  <a:spLocks/>
                </p:cNvSpPr>
                <p:nvPr/>
              </p:nvSpPr>
              <p:spPr bwMode="auto">
                <a:xfrm>
                  <a:off x="4542" y="3331"/>
                  <a:ext cx="60" cy="284"/>
                </a:xfrm>
                <a:custGeom>
                  <a:avLst/>
                  <a:gdLst>
                    <a:gd name="T0" fmla="*/ 153 w 304"/>
                    <a:gd name="T1" fmla="*/ 0 h 1418"/>
                    <a:gd name="T2" fmla="*/ 183 w 304"/>
                    <a:gd name="T3" fmla="*/ 3 h 1418"/>
                    <a:gd name="T4" fmla="*/ 212 w 304"/>
                    <a:gd name="T5" fmla="*/ 12 h 1418"/>
                    <a:gd name="T6" fmla="*/ 237 w 304"/>
                    <a:gd name="T7" fmla="*/ 26 h 1418"/>
                    <a:gd name="T8" fmla="*/ 260 w 304"/>
                    <a:gd name="T9" fmla="*/ 45 h 1418"/>
                    <a:gd name="T10" fmla="*/ 278 w 304"/>
                    <a:gd name="T11" fmla="*/ 67 h 1418"/>
                    <a:gd name="T12" fmla="*/ 293 w 304"/>
                    <a:gd name="T13" fmla="*/ 94 h 1418"/>
                    <a:gd name="T14" fmla="*/ 301 w 304"/>
                    <a:gd name="T15" fmla="*/ 122 h 1418"/>
                    <a:gd name="T16" fmla="*/ 304 w 304"/>
                    <a:gd name="T17" fmla="*/ 153 h 1418"/>
                    <a:gd name="T18" fmla="*/ 304 w 304"/>
                    <a:gd name="T19" fmla="*/ 1266 h 1418"/>
                    <a:gd name="T20" fmla="*/ 301 w 304"/>
                    <a:gd name="T21" fmla="*/ 1296 h 1418"/>
                    <a:gd name="T22" fmla="*/ 293 w 304"/>
                    <a:gd name="T23" fmla="*/ 1325 h 1418"/>
                    <a:gd name="T24" fmla="*/ 278 w 304"/>
                    <a:gd name="T25" fmla="*/ 1351 h 1418"/>
                    <a:gd name="T26" fmla="*/ 260 w 304"/>
                    <a:gd name="T27" fmla="*/ 1374 h 1418"/>
                    <a:gd name="T28" fmla="*/ 237 w 304"/>
                    <a:gd name="T29" fmla="*/ 1393 h 1418"/>
                    <a:gd name="T30" fmla="*/ 212 w 304"/>
                    <a:gd name="T31" fmla="*/ 1407 h 1418"/>
                    <a:gd name="T32" fmla="*/ 183 w 304"/>
                    <a:gd name="T33" fmla="*/ 1415 h 1418"/>
                    <a:gd name="T34" fmla="*/ 153 w 304"/>
                    <a:gd name="T35" fmla="*/ 1418 h 1418"/>
                    <a:gd name="T36" fmla="*/ 121 w 304"/>
                    <a:gd name="T37" fmla="*/ 1415 h 1418"/>
                    <a:gd name="T38" fmla="*/ 93 w 304"/>
                    <a:gd name="T39" fmla="*/ 1407 h 1418"/>
                    <a:gd name="T40" fmla="*/ 67 w 304"/>
                    <a:gd name="T41" fmla="*/ 1393 h 1418"/>
                    <a:gd name="T42" fmla="*/ 44 w 304"/>
                    <a:gd name="T43" fmla="*/ 1374 h 1418"/>
                    <a:gd name="T44" fmla="*/ 26 w 304"/>
                    <a:gd name="T45" fmla="*/ 1351 h 1418"/>
                    <a:gd name="T46" fmla="*/ 11 w 304"/>
                    <a:gd name="T47" fmla="*/ 1325 h 1418"/>
                    <a:gd name="T48" fmla="*/ 3 w 304"/>
                    <a:gd name="T49" fmla="*/ 1296 h 1418"/>
                    <a:gd name="T50" fmla="*/ 0 w 304"/>
                    <a:gd name="T51" fmla="*/ 1266 h 1418"/>
                    <a:gd name="T52" fmla="*/ 0 w 304"/>
                    <a:gd name="T53" fmla="*/ 153 h 1418"/>
                    <a:gd name="T54" fmla="*/ 3 w 304"/>
                    <a:gd name="T55" fmla="*/ 122 h 1418"/>
                    <a:gd name="T56" fmla="*/ 11 w 304"/>
                    <a:gd name="T57" fmla="*/ 94 h 1418"/>
                    <a:gd name="T58" fmla="*/ 26 w 304"/>
                    <a:gd name="T59" fmla="*/ 67 h 1418"/>
                    <a:gd name="T60" fmla="*/ 44 w 304"/>
                    <a:gd name="T61" fmla="*/ 45 h 1418"/>
                    <a:gd name="T62" fmla="*/ 67 w 304"/>
                    <a:gd name="T63" fmla="*/ 26 h 1418"/>
                    <a:gd name="T64" fmla="*/ 93 w 304"/>
                    <a:gd name="T65" fmla="*/ 12 h 1418"/>
                    <a:gd name="T66" fmla="*/ 121 w 304"/>
                    <a:gd name="T67" fmla="*/ 3 h 1418"/>
                    <a:gd name="T68" fmla="*/ 153 w 304"/>
                    <a:gd name="T69" fmla="*/ 0 h 14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4" h="1418">
                      <a:moveTo>
                        <a:pt x="153" y="0"/>
                      </a:moveTo>
                      <a:lnTo>
                        <a:pt x="183" y="3"/>
                      </a:lnTo>
                      <a:lnTo>
                        <a:pt x="212" y="12"/>
                      </a:lnTo>
                      <a:lnTo>
                        <a:pt x="237" y="26"/>
                      </a:lnTo>
                      <a:lnTo>
                        <a:pt x="260" y="45"/>
                      </a:lnTo>
                      <a:lnTo>
                        <a:pt x="278" y="67"/>
                      </a:lnTo>
                      <a:lnTo>
                        <a:pt x="293" y="94"/>
                      </a:lnTo>
                      <a:lnTo>
                        <a:pt x="301" y="122"/>
                      </a:lnTo>
                      <a:lnTo>
                        <a:pt x="304" y="153"/>
                      </a:lnTo>
                      <a:lnTo>
                        <a:pt x="304" y="1266"/>
                      </a:lnTo>
                      <a:lnTo>
                        <a:pt x="301" y="1296"/>
                      </a:lnTo>
                      <a:lnTo>
                        <a:pt x="293" y="1325"/>
                      </a:lnTo>
                      <a:lnTo>
                        <a:pt x="278" y="1351"/>
                      </a:lnTo>
                      <a:lnTo>
                        <a:pt x="260" y="1374"/>
                      </a:lnTo>
                      <a:lnTo>
                        <a:pt x="237" y="1393"/>
                      </a:lnTo>
                      <a:lnTo>
                        <a:pt x="212" y="1407"/>
                      </a:lnTo>
                      <a:lnTo>
                        <a:pt x="183" y="1415"/>
                      </a:lnTo>
                      <a:lnTo>
                        <a:pt x="153" y="1418"/>
                      </a:lnTo>
                      <a:lnTo>
                        <a:pt x="121" y="1415"/>
                      </a:lnTo>
                      <a:lnTo>
                        <a:pt x="93" y="1407"/>
                      </a:lnTo>
                      <a:lnTo>
                        <a:pt x="67" y="1393"/>
                      </a:lnTo>
                      <a:lnTo>
                        <a:pt x="44" y="1374"/>
                      </a:lnTo>
                      <a:lnTo>
                        <a:pt x="26" y="1351"/>
                      </a:lnTo>
                      <a:lnTo>
                        <a:pt x="11" y="1325"/>
                      </a:lnTo>
                      <a:lnTo>
                        <a:pt x="3" y="1296"/>
                      </a:lnTo>
                      <a:lnTo>
                        <a:pt x="0" y="1266"/>
                      </a:lnTo>
                      <a:lnTo>
                        <a:pt x="0" y="153"/>
                      </a:lnTo>
                      <a:lnTo>
                        <a:pt x="3" y="122"/>
                      </a:lnTo>
                      <a:lnTo>
                        <a:pt x="11" y="94"/>
                      </a:lnTo>
                      <a:lnTo>
                        <a:pt x="26" y="67"/>
                      </a:lnTo>
                      <a:lnTo>
                        <a:pt x="44" y="45"/>
                      </a:lnTo>
                      <a:lnTo>
                        <a:pt x="67" y="26"/>
                      </a:lnTo>
                      <a:lnTo>
                        <a:pt x="93" y="12"/>
                      </a:lnTo>
                      <a:lnTo>
                        <a:pt x="121" y="3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3" name="Freeform 206"/>
                <p:cNvSpPr>
                  <a:spLocks/>
                </p:cNvSpPr>
                <p:nvPr/>
              </p:nvSpPr>
              <p:spPr bwMode="auto">
                <a:xfrm>
                  <a:off x="4641" y="3393"/>
                  <a:ext cx="61" cy="222"/>
                </a:xfrm>
                <a:custGeom>
                  <a:avLst/>
                  <a:gdLst>
                    <a:gd name="T0" fmla="*/ 153 w 305"/>
                    <a:gd name="T1" fmla="*/ 0 h 1111"/>
                    <a:gd name="T2" fmla="*/ 183 w 305"/>
                    <a:gd name="T3" fmla="*/ 3 h 1111"/>
                    <a:gd name="T4" fmla="*/ 212 w 305"/>
                    <a:gd name="T5" fmla="*/ 11 h 1111"/>
                    <a:gd name="T6" fmla="*/ 237 w 305"/>
                    <a:gd name="T7" fmla="*/ 26 h 1111"/>
                    <a:gd name="T8" fmla="*/ 260 w 305"/>
                    <a:gd name="T9" fmla="*/ 44 h 1111"/>
                    <a:gd name="T10" fmla="*/ 278 w 305"/>
                    <a:gd name="T11" fmla="*/ 68 h 1111"/>
                    <a:gd name="T12" fmla="*/ 293 w 305"/>
                    <a:gd name="T13" fmla="*/ 93 h 1111"/>
                    <a:gd name="T14" fmla="*/ 301 w 305"/>
                    <a:gd name="T15" fmla="*/ 122 h 1111"/>
                    <a:gd name="T16" fmla="*/ 305 w 305"/>
                    <a:gd name="T17" fmla="*/ 153 h 1111"/>
                    <a:gd name="T18" fmla="*/ 305 w 305"/>
                    <a:gd name="T19" fmla="*/ 959 h 1111"/>
                    <a:gd name="T20" fmla="*/ 301 w 305"/>
                    <a:gd name="T21" fmla="*/ 989 h 1111"/>
                    <a:gd name="T22" fmla="*/ 293 w 305"/>
                    <a:gd name="T23" fmla="*/ 1018 h 1111"/>
                    <a:gd name="T24" fmla="*/ 278 w 305"/>
                    <a:gd name="T25" fmla="*/ 1044 h 1111"/>
                    <a:gd name="T26" fmla="*/ 260 w 305"/>
                    <a:gd name="T27" fmla="*/ 1067 h 1111"/>
                    <a:gd name="T28" fmla="*/ 237 w 305"/>
                    <a:gd name="T29" fmla="*/ 1086 h 1111"/>
                    <a:gd name="T30" fmla="*/ 212 w 305"/>
                    <a:gd name="T31" fmla="*/ 1100 h 1111"/>
                    <a:gd name="T32" fmla="*/ 183 w 305"/>
                    <a:gd name="T33" fmla="*/ 1108 h 1111"/>
                    <a:gd name="T34" fmla="*/ 153 w 305"/>
                    <a:gd name="T35" fmla="*/ 1111 h 1111"/>
                    <a:gd name="T36" fmla="*/ 121 w 305"/>
                    <a:gd name="T37" fmla="*/ 1108 h 1111"/>
                    <a:gd name="T38" fmla="*/ 93 w 305"/>
                    <a:gd name="T39" fmla="*/ 1100 h 1111"/>
                    <a:gd name="T40" fmla="*/ 67 w 305"/>
                    <a:gd name="T41" fmla="*/ 1086 h 1111"/>
                    <a:gd name="T42" fmla="*/ 44 w 305"/>
                    <a:gd name="T43" fmla="*/ 1067 h 1111"/>
                    <a:gd name="T44" fmla="*/ 26 w 305"/>
                    <a:gd name="T45" fmla="*/ 1044 h 1111"/>
                    <a:gd name="T46" fmla="*/ 12 w 305"/>
                    <a:gd name="T47" fmla="*/ 1018 h 1111"/>
                    <a:gd name="T48" fmla="*/ 3 w 305"/>
                    <a:gd name="T49" fmla="*/ 989 h 1111"/>
                    <a:gd name="T50" fmla="*/ 0 w 305"/>
                    <a:gd name="T51" fmla="*/ 959 h 1111"/>
                    <a:gd name="T52" fmla="*/ 0 w 305"/>
                    <a:gd name="T53" fmla="*/ 153 h 1111"/>
                    <a:gd name="T54" fmla="*/ 3 w 305"/>
                    <a:gd name="T55" fmla="*/ 122 h 1111"/>
                    <a:gd name="T56" fmla="*/ 12 w 305"/>
                    <a:gd name="T57" fmla="*/ 93 h 1111"/>
                    <a:gd name="T58" fmla="*/ 26 w 305"/>
                    <a:gd name="T59" fmla="*/ 68 h 1111"/>
                    <a:gd name="T60" fmla="*/ 44 w 305"/>
                    <a:gd name="T61" fmla="*/ 44 h 1111"/>
                    <a:gd name="T62" fmla="*/ 67 w 305"/>
                    <a:gd name="T63" fmla="*/ 26 h 1111"/>
                    <a:gd name="T64" fmla="*/ 93 w 305"/>
                    <a:gd name="T65" fmla="*/ 11 h 1111"/>
                    <a:gd name="T66" fmla="*/ 121 w 305"/>
                    <a:gd name="T67" fmla="*/ 3 h 1111"/>
                    <a:gd name="T68" fmla="*/ 153 w 305"/>
                    <a:gd name="T69" fmla="*/ 0 h 1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5" h="1111">
                      <a:moveTo>
                        <a:pt x="153" y="0"/>
                      </a:moveTo>
                      <a:lnTo>
                        <a:pt x="183" y="3"/>
                      </a:lnTo>
                      <a:lnTo>
                        <a:pt x="212" y="11"/>
                      </a:lnTo>
                      <a:lnTo>
                        <a:pt x="237" y="26"/>
                      </a:lnTo>
                      <a:lnTo>
                        <a:pt x="260" y="44"/>
                      </a:lnTo>
                      <a:lnTo>
                        <a:pt x="278" y="68"/>
                      </a:lnTo>
                      <a:lnTo>
                        <a:pt x="293" y="93"/>
                      </a:lnTo>
                      <a:lnTo>
                        <a:pt x="301" y="122"/>
                      </a:lnTo>
                      <a:lnTo>
                        <a:pt x="305" y="153"/>
                      </a:lnTo>
                      <a:lnTo>
                        <a:pt x="305" y="959"/>
                      </a:lnTo>
                      <a:lnTo>
                        <a:pt x="301" y="989"/>
                      </a:lnTo>
                      <a:lnTo>
                        <a:pt x="293" y="1018"/>
                      </a:lnTo>
                      <a:lnTo>
                        <a:pt x="278" y="1044"/>
                      </a:lnTo>
                      <a:lnTo>
                        <a:pt x="260" y="1067"/>
                      </a:lnTo>
                      <a:lnTo>
                        <a:pt x="237" y="1086"/>
                      </a:lnTo>
                      <a:lnTo>
                        <a:pt x="212" y="1100"/>
                      </a:lnTo>
                      <a:lnTo>
                        <a:pt x="183" y="1108"/>
                      </a:lnTo>
                      <a:lnTo>
                        <a:pt x="153" y="1111"/>
                      </a:lnTo>
                      <a:lnTo>
                        <a:pt x="121" y="1108"/>
                      </a:lnTo>
                      <a:lnTo>
                        <a:pt x="93" y="1100"/>
                      </a:lnTo>
                      <a:lnTo>
                        <a:pt x="67" y="1086"/>
                      </a:lnTo>
                      <a:lnTo>
                        <a:pt x="44" y="1067"/>
                      </a:lnTo>
                      <a:lnTo>
                        <a:pt x="26" y="1044"/>
                      </a:lnTo>
                      <a:lnTo>
                        <a:pt x="12" y="1018"/>
                      </a:lnTo>
                      <a:lnTo>
                        <a:pt x="3" y="989"/>
                      </a:lnTo>
                      <a:lnTo>
                        <a:pt x="0" y="959"/>
                      </a:lnTo>
                      <a:lnTo>
                        <a:pt x="0" y="153"/>
                      </a:lnTo>
                      <a:lnTo>
                        <a:pt x="3" y="122"/>
                      </a:lnTo>
                      <a:lnTo>
                        <a:pt x="12" y="93"/>
                      </a:lnTo>
                      <a:lnTo>
                        <a:pt x="26" y="68"/>
                      </a:lnTo>
                      <a:lnTo>
                        <a:pt x="44" y="44"/>
                      </a:lnTo>
                      <a:lnTo>
                        <a:pt x="67" y="26"/>
                      </a:lnTo>
                      <a:lnTo>
                        <a:pt x="93" y="11"/>
                      </a:lnTo>
                      <a:lnTo>
                        <a:pt x="121" y="3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4" name="Freeform 207"/>
                <p:cNvSpPr>
                  <a:spLocks/>
                </p:cNvSpPr>
                <p:nvPr/>
              </p:nvSpPr>
              <p:spPr bwMode="auto">
                <a:xfrm>
                  <a:off x="4176" y="3520"/>
                  <a:ext cx="223" cy="225"/>
                </a:xfrm>
                <a:custGeom>
                  <a:avLst/>
                  <a:gdLst>
                    <a:gd name="T0" fmla="*/ 1085 w 1117"/>
                    <a:gd name="T1" fmla="*/ 0 h 1123"/>
                    <a:gd name="T2" fmla="*/ 1106 w 1117"/>
                    <a:gd name="T3" fmla="*/ 10 h 1123"/>
                    <a:gd name="T4" fmla="*/ 1117 w 1117"/>
                    <a:gd name="T5" fmla="*/ 31 h 1123"/>
                    <a:gd name="T6" fmla="*/ 1113 w 1117"/>
                    <a:gd name="T7" fmla="*/ 53 h 1123"/>
                    <a:gd name="T8" fmla="*/ 1104 w 1117"/>
                    <a:gd name="T9" fmla="*/ 66 h 1123"/>
                    <a:gd name="T10" fmla="*/ 1089 w 1117"/>
                    <a:gd name="T11" fmla="*/ 82 h 1123"/>
                    <a:gd name="T12" fmla="*/ 1062 w 1117"/>
                    <a:gd name="T13" fmla="*/ 112 h 1123"/>
                    <a:gd name="T14" fmla="*/ 1023 w 1117"/>
                    <a:gd name="T15" fmla="*/ 155 h 1123"/>
                    <a:gd name="T16" fmla="*/ 973 w 1117"/>
                    <a:gd name="T17" fmla="*/ 209 h 1123"/>
                    <a:gd name="T18" fmla="*/ 917 w 1117"/>
                    <a:gd name="T19" fmla="*/ 272 h 1123"/>
                    <a:gd name="T20" fmla="*/ 853 w 1117"/>
                    <a:gd name="T21" fmla="*/ 342 h 1123"/>
                    <a:gd name="T22" fmla="*/ 785 w 1117"/>
                    <a:gd name="T23" fmla="*/ 417 h 1123"/>
                    <a:gd name="T24" fmla="*/ 712 w 1117"/>
                    <a:gd name="T25" fmla="*/ 497 h 1123"/>
                    <a:gd name="T26" fmla="*/ 640 w 1117"/>
                    <a:gd name="T27" fmla="*/ 577 h 1123"/>
                    <a:gd name="T28" fmla="*/ 566 w 1117"/>
                    <a:gd name="T29" fmla="*/ 658 h 1123"/>
                    <a:gd name="T30" fmla="*/ 494 w 1117"/>
                    <a:gd name="T31" fmla="*/ 737 h 1123"/>
                    <a:gd name="T32" fmla="*/ 425 w 1117"/>
                    <a:gd name="T33" fmla="*/ 813 h 1123"/>
                    <a:gd name="T34" fmla="*/ 361 w 1117"/>
                    <a:gd name="T35" fmla="*/ 884 h 1123"/>
                    <a:gd name="T36" fmla="*/ 303 w 1117"/>
                    <a:gd name="T37" fmla="*/ 946 h 1123"/>
                    <a:gd name="T38" fmla="*/ 254 w 1117"/>
                    <a:gd name="T39" fmla="*/ 1001 h 1123"/>
                    <a:gd name="T40" fmla="*/ 215 w 1117"/>
                    <a:gd name="T41" fmla="*/ 1045 h 1123"/>
                    <a:gd name="T42" fmla="*/ 186 w 1117"/>
                    <a:gd name="T43" fmla="*/ 1076 h 1123"/>
                    <a:gd name="T44" fmla="*/ 171 w 1117"/>
                    <a:gd name="T45" fmla="*/ 1093 h 1123"/>
                    <a:gd name="T46" fmla="*/ 151 w 1117"/>
                    <a:gd name="T47" fmla="*/ 1110 h 1123"/>
                    <a:gd name="T48" fmla="*/ 110 w 1117"/>
                    <a:gd name="T49" fmla="*/ 1123 h 1123"/>
                    <a:gd name="T50" fmla="*/ 66 w 1117"/>
                    <a:gd name="T51" fmla="*/ 1119 h 1123"/>
                    <a:gd name="T52" fmla="*/ 28 w 1117"/>
                    <a:gd name="T53" fmla="*/ 1095 h 1123"/>
                    <a:gd name="T54" fmla="*/ 5 w 1117"/>
                    <a:gd name="T55" fmla="*/ 1057 h 1123"/>
                    <a:gd name="T56" fmla="*/ 0 w 1117"/>
                    <a:gd name="T57" fmla="*/ 1013 h 1123"/>
                    <a:gd name="T58" fmla="*/ 14 w 1117"/>
                    <a:gd name="T59" fmla="*/ 972 h 1123"/>
                    <a:gd name="T60" fmla="*/ 31 w 1117"/>
                    <a:gd name="T61" fmla="*/ 952 h 1123"/>
                    <a:gd name="T62" fmla="*/ 47 w 1117"/>
                    <a:gd name="T63" fmla="*/ 936 h 1123"/>
                    <a:gd name="T64" fmla="*/ 78 w 1117"/>
                    <a:gd name="T65" fmla="*/ 908 h 1123"/>
                    <a:gd name="T66" fmla="*/ 122 w 1117"/>
                    <a:gd name="T67" fmla="*/ 868 h 1123"/>
                    <a:gd name="T68" fmla="*/ 176 w 1117"/>
                    <a:gd name="T69" fmla="*/ 818 h 1123"/>
                    <a:gd name="T70" fmla="*/ 238 w 1117"/>
                    <a:gd name="T71" fmla="*/ 761 h 1123"/>
                    <a:gd name="T72" fmla="*/ 309 w 1117"/>
                    <a:gd name="T73" fmla="*/ 696 h 1123"/>
                    <a:gd name="T74" fmla="*/ 383 w 1117"/>
                    <a:gd name="T75" fmla="*/ 627 h 1123"/>
                    <a:gd name="T76" fmla="*/ 463 w 1117"/>
                    <a:gd name="T77" fmla="*/ 554 h 1123"/>
                    <a:gd name="T78" fmla="*/ 543 w 1117"/>
                    <a:gd name="T79" fmla="*/ 481 h 1123"/>
                    <a:gd name="T80" fmla="*/ 623 w 1117"/>
                    <a:gd name="T81" fmla="*/ 406 h 1123"/>
                    <a:gd name="T82" fmla="*/ 702 w 1117"/>
                    <a:gd name="T83" fmla="*/ 334 h 1123"/>
                    <a:gd name="T84" fmla="*/ 776 w 1117"/>
                    <a:gd name="T85" fmla="*/ 265 h 1123"/>
                    <a:gd name="T86" fmla="*/ 846 w 1117"/>
                    <a:gd name="T87" fmla="*/ 201 h 1123"/>
                    <a:gd name="T88" fmla="*/ 908 w 1117"/>
                    <a:gd name="T89" fmla="*/ 143 h 1123"/>
                    <a:gd name="T90" fmla="*/ 962 w 1117"/>
                    <a:gd name="T91" fmla="*/ 95 h 1123"/>
                    <a:gd name="T92" fmla="*/ 1005 w 1117"/>
                    <a:gd name="T93" fmla="*/ 54 h 1123"/>
                    <a:gd name="T94" fmla="*/ 1036 w 1117"/>
                    <a:gd name="T95" fmla="*/ 27 h 1123"/>
                    <a:gd name="T96" fmla="*/ 1051 w 1117"/>
                    <a:gd name="T97" fmla="*/ 12 h 1123"/>
                    <a:gd name="T98" fmla="*/ 1063 w 1117"/>
                    <a:gd name="T99" fmla="*/ 3 h 1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117" h="1123">
                      <a:moveTo>
                        <a:pt x="1074" y="0"/>
                      </a:moveTo>
                      <a:lnTo>
                        <a:pt x="1085" y="0"/>
                      </a:lnTo>
                      <a:lnTo>
                        <a:pt x="1096" y="3"/>
                      </a:lnTo>
                      <a:lnTo>
                        <a:pt x="1106" y="10"/>
                      </a:lnTo>
                      <a:lnTo>
                        <a:pt x="1113" y="20"/>
                      </a:lnTo>
                      <a:lnTo>
                        <a:pt x="1117" y="31"/>
                      </a:lnTo>
                      <a:lnTo>
                        <a:pt x="1117" y="43"/>
                      </a:lnTo>
                      <a:lnTo>
                        <a:pt x="1113" y="53"/>
                      </a:lnTo>
                      <a:lnTo>
                        <a:pt x="1106" y="64"/>
                      </a:lnTo>
                      <a:lnTo>
                        <a:pt x="1104" y="66"/>
                      </a:lnTo>
                      <a:lnTo>
                        <a:pt x="1099" y="71"/>
                      </a:lnTo>
                      <a:lnTo>
                        <a:pt x="1089" y="82"/>
                      </a:lnTo>
                      <a:lnTo>
                        <a:pt x="1077" y="96"/>
                      </a:lnTo>
                      <a:lnTo>
                        <a:pt x="1062" y="112"/>
                      </a:lnTo>
                      <a:lnTo>
                        <a:pt x="1043" y="132"/>
                      </a:lnTo>
                      <a:lnTo>
                        <a:pt x="1023" y="155"/>
                      </a:lnTo>
                      <a:lnTo>
                        <a:pt x="999" y="181"/>
                      </a:lnTo>
                      <a:lnTo>
                        <a:pt x="973" y="209"/>
                      </a:lnTo>
                      <a:lnTo>
                        <a:pt x="946" y="240"/>
                      </a:lnTo>
                      <a:lnTo>
                        <a:pt x="917" y="272"/>
                      </a:lnTo>
                      <a:lnTo>
                        <a:pt x="885" y="306"/>
                      </a:lnTo>
                      <a:lnTo>
                        <a:pt x="853" y="342"/>
                      </a:lnTo>
                      <a:lnTo>
                        <a:pt x="820" y="379"/>
                      </a:lnTo>
                      <a:lnTo>
                        <a:pt x="785" y="417"/>
                      </a:lnTo>
                      <a:lnTo>
                        <a:pt x="749" y="456"/>
                      </a:lnTo>
                      <a:lnTo>
                        <a:pt x="712" y="497"/>
                      </a:lnTo>
                      <a:lnTo>
                        <a:pt x="676" y="537"/>
                      </a:lnTo>
                      <a:lnTo>
                        <a:pt x="640" y="577"/>
                      </a:lnTo>
                      <a:lnTo>
                        <a:pt x="603" y="617"/>
                      </a:lnTo>
                      <a:lnTo>
                        <a:pt x="566" y="658"/>
                      </a:lnTo>
                      <a:lnTo>
                        <a:pt x="529" y="698"/>
                      </a:lnTo>
                      <a:lnTo>
                        <a:pt x="494" y="737"/>
                      </a:lnTo>
                      <a:lnTo>
                        <a:pt x="458" y="776"/>
                      </a:lnTo>
                      <a:lnTo>
                        <a:pt x="425" y="813"/>
                      </a:lnTo>
                      <a:lnTo>
                        <a:pt x="392" y="849"/>
                      </a:lnTo>
                      <a:lnTo>
                        <a:pt x="361" y="884"/>
                      </a:lnTo>
                      <a:lnTo>
                        <a:pt x="332" y="917"/>
                      </a:lnTo>
                      <a:lnTo>
                        <a:pt x="303" y="946"/>
                      </a:lnTo>
                      <a:lnTo>
                        <a:pt x="278" y="975"/>
                      </a:lnTo>
                      <a:lnTo>
                        <a:pt x="254" y="1001"/>
                      </a:lnTo>
                      <a:lnTo>
                        <a:pt x="233" y="1024"/>
                      </a:lnTo>
                      <a:lnTo>
                        <a:pt x="215" y="1045"/>
                      </a:lnTo>
                      <a:lnTo>
                        <a:pt x="199" y="1062"/>
                      </a:lnTo>
                      <a:lnTo>
                        <a:pt x="186" y="1076"/>
                      </a:lnTo>
                      <a:lnTo>
                        <a:pt x="177" y="1086"/>
                      </a:lnTo>
                      <a:lnTo>
                        <a:pt x="171" y="1093"/>
                      </a:lnTo>
                      <a:lnTo>
                        <a:pt x="169" y="1095"/>
                      </a:lnTo>
                      <a:lnTo>
                        <a:pt x="151" y="1110"/>
                      </a:lnTo>
                      <a:lnTo>
                        <a:pt x="131" y="1119"/>
                      </a:lnTo>
                      <a:lnTo>
                        <a:pt x="110" y="1123"/>
                      </a:lnTo>
                      <a:lnTo>
                        <a:pt x="87" y="1123"/>
                      </a:lnTo>
                      <a:lnTo>
                        <a:pt x="66" y="1119"/>
                      </a:lnTo>
                      <a:lnTo>
                        <a:pt x="46" y="1110"/>
                      </a:lnTo>
                      <a:lnTo>
                        <a:pt x="28" y="1095"/>
                      </a:lnTo>
                      <a:lnTo>
                        <a:pt x="14" y="1077"/>
                      </a:lnTo>
                      <a:lnTo>
                        <a:pt x="5" y="1057"/>
                      </a:lnTo>
                      <a:lnTo>
                        <a:pt x="0" y="1035"/>
                      </a:lnTo>
                      <a:lnTo>
                        <a:pt x="0" y="1013"/>
                      </a:lnTo>
                      <a:lnTo>
                        <a:pt x="5" y="992"/>
                      </a:lnTo>
                      <a:lnTo>
                        <a:pt x="14" y="972"/>
                      </a:lnTo>
                      <a:lnTo>
                        <a:pt x="28" y="954"/>
                      </a:lnTo>
                      <a:lnTo>
                        <a:pt x="31" y="952"/>
                      </a:lnTo>
                      <a:lnTo>
                        <a:pt x="37" y="945"/>
                      </a:lnTo>
                      <a:lnTo>
                        <a:pt x="47" y="936"/>
                      </a:lnTo>
                      <a:lnTo>
                        <a:pt x="61" y="924"/>
                      </a:lnTo>
                      <a:lnTo>
                        <a:pt x="78" y="908"/>
                      </a:lnTo>
                      <a:lnTo>
                        <a:pt x="99" y="889"/>
                      </a:lnTo>
                      <a:lnTo>
                        <a:pt x="122" y="868"/>
                      </a:lnTo>
                      <a:lnTo>
                        <a:pt x="147" y="844"/>
                      </a:lnTo>
                      <a:lnTo>
                        <a:pt x="176" y="818"/>
                      </a:lnTo>
                      <a:lnTo>
                        <a:pt x="206" y="790"/>
                      </a:lnTo>
                      <a:lnTo>
                        <a:pt x="238" y="761"/>
                      </a:lnTo>
                      <a:lnTo>
                        <a:pt x="273" y="729"/>
                      </a:lnTo>
                      <a:lnTo>
                        <a:pt x="309" y="696"/>
                      </a:lnTo>
                      <a:lnTo>
                        <a:pt x="346" y="662"/>
                      </a:lnTo>
                      <a:lnTo>
                        <a:pt x="383" y="627"/>
                      </a:lnTo>
                      <a:lnTo>
                        <a:pt x="422" y="591"/>
                      </a:lnTo>
                      <a:lnTo>
                        <a:pt x="463" y="554"/>
                      </a:lnTo>
                      <a:lnTo>
                        <a:pt x="503" y="518"/>
                      </a:lnTo>
                      <a:lnTo>
                        <a:pt x="543" y="481"/>
                      </a:lnTo>
                      <a:lnTo>
                        <a:pt x="583" y="444"/>
                      </a:lnTo>
                      <a:lnTo>
                        <a:pt x="623" y="406"/>
                      </a:lnTo>
                      <a:lnTo>
                        <a:pt x="663" y="369"/>
                      </a:lnTo>
                      <a:lnTo>
                        <a:pt x="702" y="334"/>
                      </a:lnTo>
                      <a:lnTo>
                        <a:pt x="740" y="299"/>
                      </a:lnTo>
                      <a:lnTo>
                        <a:pt x="776" y="265"/>
                      </a:lnTo>
                      <a:lnTo>
                        <a:pt x="812" y="232"/>
                      </a:lnTo>
                      <a:lnTo>
                        <a:pt x="846" y="201"/>
                      </a:lnTo>
                      <a:lnTo>
                        <a:pt x="879" y="171"/>
                      </a:lnTo>
                      <a:lnTo>
                        <a:pt x="908" y="143"/>
                      </a:lnTo>
                      <a:lnTo>
                        <a:pt x="937" y="118"/>
                      </a:lnTo>
                      <a:lnTo>
                        <a:pt x="962" y="95"/>
                      </a:lnTo>
                      <a:lnTo>
                        <a:pt x="985" y="73"/>
                      </a:lnTo>
                      <a:lnTo>
                        <a:pt x="1005" y="54"/>
                      </a:lnTo>
                      <a:lnTo>
                        <a:pt x="1022" y="39"/>
                      </a:lnTo>
                      <a:lnTo>
                        <a:pt x="1036" y="27"/>
                      </a:lnTo>
                      <a:lnTo>
                        <a:pt x="1045" y="18"/>
                      </a:lnTo>
                      <a:lnTo>
                        <a:pt x="1051" y="12"/>
                      </a:lnTo>
                      <a:lnTo>
                        <a:pt x="1054" y="10"/>
                      </a:lnTo>
                      <a:lnTo>
                        <a:pt x="1063" y="3"/>
                      </a:lnTo>
                      <a:lnTo>
                        <a:pt x="107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16" name="Group 115"/>
              <p:cNvGrpSpPr>
                <a:grpSpLocks noChangeAspect="1"/>
              </p:cNvGrpSpPr>
              <p:nvPr/>
            </p:nvGrpSpPr>
            <p:grpSpPr bwMode="auto">
              <a:xfrm>
                <a:off x="5306128" y="3308223"/>
                <a:ext cx="646135" cy="651558"/>
                <a:chOff x="4224" y="3247"/>
                <a:chExt cx="715" cy="721"/>
              </a:xfrm>
              <a:solidFill>
                <a:schemeClr val="bg1"/>
              </a:solidFill>
            </p:grpSpPr>
            <p:sp>
              <p:nvSpPr>
                <p:cNvPr id="117" name="Freeform 238"/>
                <p:cNvSpPr>
                  <a:spLocks/>
                </p:cNvSpPr>
                <p:nvPr/>
              </p:nvSpPr>
              <p:spPr bwMode="auto">
                <a:xfrm>
                  <a:off x="4416" y="3533"/>
                  <a:ext cx="175" cy="199"/>
                </a:xfrm>
                <a:custGeom>
                  <a:avLst/>
                  <a:gdLst>
                    <a:gd name="T0" fmla="*/ 449 w 878"/>
                    <a:gd name="T1" fmla="*/ 3 h 992"/>
                    <a:gd name="T2" fmla="*/ 535 w 878"/>
                    <a:gd name="T3" fmla="*/ 19 h 992"/>
                    <a:gd name="T4" fmla="*/ 606 w 878"/>
                    <a:gd name="T5" fmla="*/ 50 h 992"/>
                    <a:gd name="T6" fmla="*/ 664 w 878"/>
                    <a:gd name="T7" fmla="*/ 92 h 992"/>
                    <a:gd name="T8" fmla="*/ 709 w 878"/>
                    <a:gd name="T9" fmla="*/ 145 h 992"/>
                    <a:gd name="T10" fmla="*/ 743 w 878"/>
                    <a:gd name="T11" fmla="*/ 206 h 992"/>
                    <a:gd name="T12" fmla="*/ 768 w 878"/>
                    <a:gd name="T13" fmla="*/ 273 h 992"/>
                    <a:gd name="T14" fmla="*/ 786 w 878"/>
                    <a:gd name="T15" fmla="*/ 342 h 992"/>
                    <a:gd name="T16" fmla="*/ 796 w 878"/>
                    <a:gd name="T17" fmla="*/ 412 h 992"/>
                    <a:gd name="T18" fmla="*/ 801 w 878"/>
                    <a:gd name="T19" fmla="*/ 481 h 992"/>
                    <a:gd name="T20" fmla="*/ 812 w 878"/>
                    <a:gd name="T21" fmla="*/ 513 h 992"/>
                    <a:gd name="T22" fmla="*/ 837 w 878"/>
                    <a:gd name="T23" fmla="*/ 514 h 992"/>
                    <a:gd name="T24" fmla="*/ 859 w 878"/>
                    <a:gd name="T25" fmla="*/ 532 h 992"/>
                    <a:gd name="T26" fmla="*/ 871 w 878"/>
                    <a:gd name="T27" fmla="*/ 562 h 992"/>
                    <a:gd name="T28" fmla="*/ 877 w 878"/>
                    <a:gd name="T29" fmla="*/ 603 h 992"/>
                    <a:gd name="T30" fmla="*/ 878 w 878"/>
                    <a:gd name="T31" fmla="*/ 651 h 992"/>
                    <a:gd name="T32" fmla="*/ 870 w 878"/>
                    <a:gd name="T33" fmla="*/ 704 h 992"/>
                    <a:gd name="T34" fmla="*/ 849 w 878"/>
                    <a:gd name="T35" fmla="*/ 757 h 992"/>
                    <a:gd name="T36" fmla="*/ 820 w 878"/>
                    <a:gd name="T37" fmla="*/ 801 h 992"/>
                    <a:gd name="T38" fmla="*/ 788 w 878"/>
                    <a:gd name="T39" fmla="*/ 828 h 992"/>
                    <a:gd name="T40" fmla="*/ 761 w 878"/>
                    <a:gd name="T41" fmla="*/ 830 h 992"/>
                    <a:gd name="T42" fmla="*/ 729 w 878"/>
                    <a:gd name="T43" fmla="*/ 871 h 992"/>
                    <a:gd name="T44" fmla="*/ 674 w 878"/>
                    <a:gd name="T45" fmla="*/ 956 h 992"/>
                    <a:gd name="T46" fmla="*/ 277 w 878"/>
                    <a:gd name="T47" fmla="*/ 992 h 992"/>
                    <a:gd name="T48" fmla="*/ 207 w 878"/>
                    <a:gd name="T49" fmla="*/ 917 h 992"/>
                    <a:gd name="T50" fmla="*/ 149 w 878"/>
                    <a:gd name="T51" fmla="*/ 827 h 992"/>
                    <a:gd name="T52" fmla="*/ 139 w 878"/>
                    <a:gd name="T53" fmla="*/ 831 h 992"/>
                    <a:gd name="T54" fmla="*/ 118 w 878"/>
                    <a:gd name="T55" fmla="*/ 828 h 992"/>
                    <a:gd name="T56" fmla="*/ 85 w 878"/>
                    <a:gd name="T57" fmla="*/ 807 h 992"/>
                    <a:gd name="T58" fmla="*/ 54 w 878"/>
                    <a:gd name="T59" fmla="*/ 770 h 992"/>
                    <a:gd name="T60" fmla="*/ 27 w 878"/>
                    <a:gd name="T61" fmla="*/ 723 h 992"/>
                    <a:gd name="T62" fmla="*/ 10 w 878"/>
                    <a:gd name="T63" fmla="*/ 674 h 992"/>
                    <a:gd name="T64" fmla="*/ 3 w 878"/>
                    <a:gd name="T65" fmla="*/ 626 h 992"/>
                    <a:gd name="T66" fmla="*/ 0 w 878"/>
                    <a:gd name="T67" fmla="*/ 581 h 992"/>
                    <a:gd name="T68" fmla="*/ 5 w 878"/>
                    <a:gd name="T69" fmla="*/ 545 h 992"/>
                    <a:gd name="T70" fmla="*/ 19 w 878"/>
                    <a:gd name="T71" fmla="*/ 521 h 992"/>
                    <a:gd name="T72" fmla="*/ 46 w 878"/>
                    <a:gd name="T73" fmla="*/ 512 h 992"/>
                    <a:gd name="T74" fmla="*/ 55 w 878"/>
                    <a:gd name="T75" fmla="*/ 513 h 992"/>
                    <a:gd name="T76" fmla="*/ 56 w 878"/>
                    <a:gd name="T77" fmla="*/ 480 h 992"/>
                    <a:gd name="T78" fmla="*/ 55 w 878"/>
                    <a:gd name="T79" fmla="*/ 411 h 992"/>
                    <a:gd name="T80" fmla="*/ 60 w 878"/>
                    <a:gd name="T81" fmla="*/ 341 h 992"/>
                    <a:gd name="T82" fmla="*/ 70 w 878"/>
                    <a:gd name="T83" fmla="*/ 272 h 992"/>
                    <a:gd name="T84" fmla="*/ 90 w 878"/>
                    <a:gd name="T85" fmla="*/ 206 h 992"/>
                    <a:gd name="T86" fmla="*/ 119 w 878"/>
                    <a:gd name="T87" fmla="*/ 145 h 992"/>
                    <a:gd name="T88" fmla="*/ 158 w 878"/>
                    <a:gd name="T89" fmla="*/ 92 h 992"/>
                    <a:gd name="T90" fmla="*/ 211 w 878"/>
                    <a:gd name="T91" fmla="*/ 50 h 992"/>
                    <a:gd name="T92" fmla="*/ 276 w 878"/>
                    <a:gd name="T93" fmla="*/ 19 h 992"/>
                    <a:gd name="T94" fmla="*/ 355 w 878"/>
                    <a:gd name="T95" fmla="*/ 3 h 9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78" h="992">
                      <a:moveTo>
                        <a:pt x="400" y="0"/>
                      </a:moveTo>
                      <a:lnTo>
                        <a:pt x="449" y="3"/>
                      </a:lnTo>
                      <a:lnTo>
                        <a:pt x="494" y="8"/>
                      </a:lnTo>
                      <a:lnTo>
                        <a:pt x="535" y="19"/>
                      </a:lnTo>
                      <a:lnTo>
                        <a:pt x="572" y="33"/>
                      </a:lnTo>
                      <a:lnTo>
                        <a:pt x="606" y="50"/>
                      </a:lnTo>
                      <a:lnTo>
                        <a:pt x="636" y="69"/>
                      </a:lnTo>
                      <a:lnTo>
                        <a:pt x="664" y="92"/>
                      </a:lnTo>
                      <a:lnTo>
                        <a:pt x="687" y="118"/>
                      </a:lnTo>
                      <a:lnTo>
                        <a:pt x="709" y="145"/>
                      </a:lnTo>
                      <a:lnTo>
                        <a:pt x="727" y="175"/>
                      </a:lnTo>
                      <a:lnTo>
                        <a:pt x="743" y="206"/>
                      </a:lnTo>
                      <a:lnTo>
                        <a:pt x="756" y="238"/>
                      </a:lnTo>
                      <a:lnTo>
                        <a:pt x="768" y="273"/>
                      </a:lnTo>
                      <a:lnTo>
                        <a:pt x="777" y="306"/>
                      </a:lnTo>
                      <a:lnTo>
                        <a:pt x="786" y="342"/>
                      </a:lnTo>
                      <a:lnTo>
                        <a:pt x="791" y="376"/>
                      </a:lnTo>
                      <a:lnTo>
                        <a:pt x="796" y="412"/>
                      </a:lnTo>
                      <a:lnTo>
                        <a:pt x="799" y="447"/>
                      </a:lnTo>
                      <a:lnTo>
                        <a:pt x="801" y="481"/>
                      </a:lnTo>
                      <a:lnTo>
                        <a:pt x="802" y="514"/>
                      </a:lnTo>
                      <a:lnTo>
                        <a:pt x="812" y="513"/>
                      </a:lnTo>
                      <a:lnTo>
                        <a:pt x="822" y="512"/>
                      </a:lnTo>
                      <a:lnTo>
                        <a:pt x="837" y="514"/>
                      </a:lnTo>
                      <a:lnTo>
                        <a:pt x="849" y="521"/>
                      </a:lnTo>
                      <a:lnTo>
                        <a:pt x="859" y="532"/>
                      </a:lnTo>
                      <a:lnTo>
                        <a:pt x="866" y="545"/>
                      </a:lnTo>
                      <a:lnTo>
                        <a:pt x="871" y="562"/>
                      </a:lnTo>
                      <a:lnTo>
                        <a:pt x="875" y="581"/>
                      </a:lnTo>
                      <a:lnTo>
                        <a:pt x="877" y="603"/>
                      </a:lnTo>
                      <a:lnTo>
                        <a:pt x="878" y="626"/>
                      </a:lnTo>
                      <a:lnTo>
                        <a:pt x="878" y="651"/>
                      </a:lnTo>
                      <a:lnTo>
                        <a:pt x="876" y="677"/>
                      </a:lnTo>
                      <a:lnTo>
                        <a:pt x="870" y="704"/>
                      </a:lnTo>
                      <a:lnTo>
                        <a:pt x="861" y="731"/>
                      </a:lnTo>
                      <a:lnTo>
                        <a:pt x="849" y="757"/>
                      </a:lnTo>
                      <a:lnTo>
                        <a:pt x="835" y="781"/>
                      </a:lnTo>
                      <a:lnTo>
                        <a:pt x="820" y="801"/>
                      </a:lnTo>
                      <a:lnTo>
                        <a:pt x="804" y="817"/>
                      </a:lnTo>
                      <a:lnTo>
                        <a:pt x="788" y="828"/>
                      </a:lnTo>
                      <a:lnTo>
                        <a:pt x="772" y="832"/>
                      </a:lnTo>
                      <a:lnTo>
                        <a:pt x="761" y="830"/>
                      </a:lnTo>
                      <a:lnTo>
                        <a:pt x="752" y="824"/>
                      </a:lnTo>
                      <a:lnTo>
                        <a:pt x="729" y="871"/>
                      </a:lnTo>
                      <a:lnTo>
                        <a:pt x="703" y="916"/>
                      </a:lnTo>
                      <a:lnTo>
                        <a:pt x="674" y="956"/>
                      </a:lnTo>
                      <a:lnTo>
                        <a:pt x="642" y="992"/>
                      </a:lnTo>
                      <a:lnTo>
                        <a:pt x="277" y="992"/>
                      </a:lnTo>
                      <a:lnTo>
                        <a:pt x="241" y="956"/>
                      </a:lnTo>
                      <a:lnTo>
                        <a:pt x="207" y="917"/>
                      </a:lnTo>
                      <a:lnTo>
                        <a:pt x="177" y="873"/>
                      </a:lnTo>
                      <a:lnTo>
                        <a:pt x="149" y="827"/>
                      </a:lnTo>
                      <a:lnTo>
                        <a:pt x="143" y="830"/>
                      </a:lnTo>
                      <a:lnTo>
                        <a:pt x="139" y="831"/>
                      </a:lnTo>
                      <a:lnTo>
                        <a:pt x="133" y="832"/>
                      </a:lnTo>
                      <a:lnTo>
                        <a:pt x="118" y="828"/>
                      </a:lnTo>
                      <a:lnTo>
                        <a:pt x="101" y="820"/>
                      </a:lnTo>
                      <a:lnTo>
                        <a:pt x="85" y="807"/>
                      </a:lnTo>
                      <a:lnTo>
                        <a:pt x="69" y="789"/>
                      </a:lnTo>
                      <a:lnTo>
                        <a:pt x="54" y="770"/>
                      </a:lnTo>
                      <a:lnTo>
                        <a:pt x="40" y="747"/>
                      </a:lnTo>
                      <a:lnTo>
                        <a:pt x="27" y="723"/>
                      </a:lnTo>
                      <a:lnTo>
                        <a:pt x="18" y="698"/>
                      </a:lnTo>
                      <a:lnTo>
                        <a:pt x="10" y="674"/>
                      </a:lnTo>
                      <a:lnTo>
                        <a:pt x="5" y="651"/>
                      </a:lnTo>
                      <a:lnTo>
                        <a:pt x="3" y="626"/>
                      </a:lnTo>
                      <a:lnTo>
                        <a:pt x="0" y="603"/>
                      </a:lnTo>
                      <a:lnTo>
                        <a:pt x="0" y="581"/>
                      </a:lnTo>
                      <a:lnTo>
                        <a:pt x="2" y="562"/>
                      </a:lnTo>
                      <a:lnTo>
                        <a:pt x="5" y="545"/>
                      </a:lnTo>
                      <a:lnTo>
                        <a:pt x="11" y="532"/>
                      </a:lnTo>
                      <a:lnTo>
                        <a:pt x="19" y="521"/>
                      </a:lnTo>
                      <a:lnTo>
                        <a:pt x="31" y="514"/>
                      </a:lnTo>
                      <a:lnTo>
                        <a:pt x="46" y="512"/>
                      </a:lnTo>
                      <a:lnTo>
                        <a:pt x="50" y="512"/>
                      </a:lnTo>
                      <a:lnTo>
                        <a:pt x="55" y="513"/>
                      </a:lnTo>
                      <a:lnTo>
                        <a:pt x="60" y="513"/>
                      </a:lnTo>
                      <a:lnTo>
                        <a:pt x="56" y="480"/>
                      </a:lnTo>
                      <a:lnTo>
                        <a:pt x="55" y="447"/>
                      </a:lnTo>
                      <a:lnTo>
                        <a:pt x="55" y="411"/>
                      </a:lnTo>
                      <a:lnTo>
                        <a:pt x="56" y="376"/>
                      </a:lnTo>
                      <a:lnTo>
                        <a:pt x="60" y="341"/>
                      </a:lnTo>
                      <a:lnTo>
                        <a:pt x="64" y="306"/>
                      </a:lnTo>
                      <a:lnTo>
                        <a:pt x="70" y="272"/>
                      </a:lnTo>
                      <a:lnTo>
                        <a:pt x="79" y="238"/>
                      </a:lnTo>
                      <a:lnTo>
                        <a:pt x="90" y="206"/>
                      </a:lnTo>
                      <a:lnTo>
                        <a:pt x="103" y="175"/>
                      </a:lnTo>
                      <a:lnTo>
                        <a:pt x="119" y="145"/>
                      </a:lnTo>
                      <a:lnTo>
                        <a:pt x="137" y="118"/>
                      </a:lnTo>
                      <a:lnTo>
                        <a:pt x="158" y="92"/>
                      </a:lnTo>
                      <a:lnTo>
                        <a:pt x="183" y="69"/>
                      </a:lnTo>
                      <a:lnTo>
                        <a:pt x="211" y="50"/>
                      </a:lnTo>
                      <a:lnTo>
                        <a:pt x="241" y="33"/>
                      </a:lnTo>
                      <a:lnTo>
                        <a:pt x="276" y="19"/>
                      </a:lnTo>
                      <a:lnTo>
                        <a:pt x="313" y="8"/>
                      </a:lnTo>
                      <a:lnTo>
                        <a:pt x="355" y="3"/>
                      </a:lnTo>
                      <a:lnTo>
                        <a:pt x="40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239"/>
                <p:cNvSpPr>
                  <a:spLocks/>
                </p:cNvSpPr>
                <p:nvPr/>
              </p:nvSpPr>
              <p:spPr bwMode="auto">
                <a:xfrm>
                  <a:off x="4585" y="3568"/>
                  <a:ext cx="219" cy="63"/>
                </a:xfrm>
                <a:custGeom>
                  <a:avLst/>
                  <a:gdLst>
                    <a:gd name="T0" fmla="*/ 0 w 1098"/>
                    <a:gd name="T1" fmla="*/ 0 h 318"/>
                    <a:gd name="T2" fmla="*/ 1026 w 1098"/>
                    <a:gd name="T3" fmla="*/ 0 h 318"/>
                    <a:gd name="T4" fmla="*/ 1046 w 1098"/>
                    <a:gd name="T5" fmla="*/ 3 h 318"/>
                    <a:gd name="T6" fmla="*/ 1062 w 1098"/>
                    <a:gd name="T7" fmla="*/ 10 h 318"/>
                    <a:gd name="T8" fmla="*/ 1076 w 1098"/>
                    <a:gd name="T9" fmla="*/ 20 h 318"/>
                    <a:gd name="T10" fmla="*/ 1088 w 1098"/>
                    <a:gd name="T11" fmla="*/ 34 h 318"/>
                    <a:gd name="T12" fmla="*/ 1095 w 1098"/>
                    <a:gd name="T13" fmla="*/ 51 h 318"/>
                    <a:gd name="T14" fmla="*/ 1098 w 1098"/>
                    <a:gd name="T15" fmla="*/ 71 h 318"/>
                    <a:gd name="T16" fmla="*/ 1097 w 1098"/>
                    <a:gd name="T17" fmla="*/ 92 h 318"/>
                    <a:gd name="T18" fmla="*/ 1075 w 1098"/>
                    <a:gd name="T19" fmla="*/ 232 h 318"/>
                    <a:gd name="T20" fmla="*/ 1069 w 1098"/>
                    <a:gd name="T21" fmla="*/ 255 h 318"/>
                    <a:gd name="T22" fmla="*/ 1058 w 1098"/>
                    <a:gd name="T23" fmla="*/ 276 h 318"/>
                    <a:gd name="T24" fmla="*/ 1041 w 1098"/>
                    <a:gd name="T25" fmla="*/ 293 h 318"/>
                    <a:gd name="T26" fmla="*/ 1023 w 1098"/>
                    <a:gd name="T27" fmla="*/ 307 h 318"/>
                    <a:gd name="T28" fmla="*/ 1002 w 1098"/>
                    <a:gd name="T29" fmla="*/ 315 h 318"/>
                    <a:gd name="T30" fmla="*/ 980 w 1098"/>
                    <a:gd name="T31" fmla="*/ 318 h 318"/>
                    <a:gd name="T32" fmla="*/ 105 w 1098"/>
                    <a:gd name="T33" fmla="*/ 318 h 318"/>
                    <a:gd name="T34" fmla="*/ 96 w 1098"/>
                    <a:gd name="T35" fmla="*/ 299 h 318"/>
                    <a:gd name="T36" fmla="*/ 84 w 1098"/>
                    <a:gd name="T37" fmla="*/ 282 h 318"/>
                    <a:gd name="T38" fmla="*/ 72 w 1098"/>
                    <a:gd name="T39" fmla="*/ 268 h 318"/>
                    <a:gd name="T40" fmla="*/ 57 w 1098"/>
                    <a:gd name="T41" fmla="*/ 256 h 318"/>
                    <a:gd name="T42" fmla="*/ 51 w 1098"/>
                    <a:gd name="T43" fmla="*/ 197 h 318"/>
                    <a:gd name="T44" fmla="*/ 41 w 1098"/>
                    <a:gd name="T45" fmla="*/ 142 h 318"/>
                    <a:gd name="T46" fmla="*/ 30 w 1098"/>
                    <a:gd name="T47" fmla="*/ 92 h 318"/>
                    <a:gd name="T48" fmla="*/ 16 w 1098"/>
                    <a:gd name="T49" fmla="*/ 44 h 318"/>
                    <a:gd name="T50" fmla="*/ 0 w 1098"/>
                    <a:gd name="T51" fmla="*/ 0 h 3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98" h="318">
                      <a:moveTo>
                        <a:pt x="0" y="0"/>
                      </a:moveTo>
                      <a:lnTo>
                        <a:pt x="1026" y="0"/>
                      </a:lnTo>
                      <a:lnTo>
                        <a:pt x="1046" y="3"/>
                      </a:lnTo>
                      <a:lnTo>
                        <a:pt x="1062" y="10"/>
                      </a:lnTo>
                      <a:lnTo>
                        <a:pt x="1076" y="20"/>
                      </a:lnTo>
                      <a:lnTo>
                        <a:pt x="1088" y="34"/>
                      </a:lnTo>
                      <a:lnTo>
                        <a:pt x="1095" y="51"/>
                      </a:lnTo>
                      <a:lnTo>
                        <a:pt x="1098" y="71"/>
                      </a:lnTo>
                      <a:lnTo>
                        <a:pt x="1097" y="92"/>
                      </a:lnTo>
                      <a:lnTo>
                        <a:pt x="1075" y="232"/>
                      </a:lnTo>
                      <a:lnTo>
                        <a:pt x="1069" y="255"/>
                      </a:lnTo>
                      <a:lnTo>
                        <a:pt x="1058" y="276"/>
                      </a:lnTo>
                      <a:lnTo>
                        <a:pt x="1041" y="293"/>
                      </a:lnTo>
                      <a:lnTo>
                        <a:pt x="1023" y="307"/>
                      </a:lnTo>
                      <a:lnTo>
                        <a:pt x="1002" y="315"/>
                      </a:lnTo>
                      <a:lnTo>
                        <a:pt x="980" y="318"/>
                      </a:lnTo>
                      <a:lnTo>
                        <a:pt x="105" y="318"/>
                      </a:lnTo>
                      <a:lnTo>
                        <a:pt x="96" y="299"/>
                      </a:lnTo>
                      <a:lnTo>
                        <a:pt x="84" y="282"/>
                      </a:lnTo>
                      <a:lnTo>
                        <a:pt x="72" y="268"/>
                      </a:lnTo>
                      <a:lnTo>
                        <a:pt x="57" y="256"/>
                      </a:lnTo>
                      <a:lnTo>
                        <a:pt x="51" y="197"/>
                      </a:lnTo>
                      <a:lnTo>
                        <a:pt x="41" y="142"/>
                      </a:lnTo>
                      <a:lnTo>
                        <a:pt x="30" y="92"/>
                      </a:lnTo>
                      <a:lnTo>
                        <a:pt x="16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240"/>
                <p:cNvSpPr>
                  <a:spLocks/>
                </p:cNvSpPr>
                <p:nvPr/>
              </p:nvSpPr>
              <p:spPr bwMode="auto">
                <a:xfrm>
                  <a:off x="4577" y="3679"/>
                  <a:ext cx="210" cy="54"/>
                </a:xfrm>
                <a:custGeom>
                  <a:avLst/>
                  <a:gdLst>
                    <a:gd name="T0" fmla="*/ 160 w 1052"/>
                    <a:gd name="T1" fmla="*/ 0 h 271"/>
                    <a:gd name="T2" fmla="*/ 985 w 1052"/>
                    <a:gd name="T3" fmla="*/ 0 h 271"/>
                    <a:gd name="T4" fmla="*/ 1005 w 1052"/>
                    <a:gd name="T5" fmla="*/ 3 h 271"/>
                    <a:gd name="T6" fmla="*/ 1023 w 1052"/>
                    <a:gd name="T7" fmla="*/ 11 h 271"/>
                    <a:gd name="T8" fmla="*/ 1037 w 1052"/>
                    <a:gd name="T9" fmla="*/ 23 h 271"/>
                    <a:gd name="T10" fmla="*/ 1047 w 1052"/>
                    <a:gd name="T11" fmla="*/ 40 h 271"/>
                    <a:gd name="T12" fmla="*/ 1052 w 1052"/>
                    <a:gd name="T13" fmla="*/ 58 h 271"/>
                    <a:gd name="T14" fmla="*/ 1052 w 1052"/>
                    <a:gd name="T15" fmla="*/ 79 h 271"/>
                    <a:gd name="T16" fmla="*/ 1033 w 1052"/>
                    <a:gd name="T17" fmla="*/ 198 h 271"/>
                    <a:gd name="T18" fmla="*/ 1027 w 1052"/>
                    <a:gd name="T19" fmla="*/ 218 h 271"/>
                    <a:gd name="T20" fmla="*/ 1016 w 1052"/>
                    <a:gd name="T21" fmla="*/ 235 h 271"/>
                    <a:gd name="T22" fmla="*/ 1002 w 1052"/>
                    <a:gd name="T23" fmla="*/ 250 h 271"/>
                    <a:gd name="T24" fmla="*/ 985 w 1052"/>
                    <a:gd name="T25" fmla="*/ 262 h 271"/>
                    <a:gd name="T26" fmla="*/ 965 w 1052"/>
                    <a:gd name="T27" fmla="*/ 268 h 271"/>
                    <a:gd name="T28" fmla="*/ 946 w 1052"/>
                    <a:gd name="T29" fmla="*/ 271 h 271"/>
                    <a:gd name="T30" fmla="*/ 1 w 1052"/>
                    <a:gd name="T31" fmla="*/ 271 h 271"/>
                    <a:gd name="T32" fmla="*/ 0 w 1052"/>
                    <a:gd name="T33" fmla="*/ 202 h 271"/>
                    <a:gd name="T34" fmla="*/ 4 w 1052"/>
                    <a:gd name="T35" fmla="*/ 196 h 271"/>
                    <a:gd name="T36" fmla="*/ 7 w 1052"/>
                    <a:gd name="T37" fmla="*/ 190 h 271"/>
                    <a:gd name="T38" fmla="*/ 35 w 1052"/>
                    <a:gd name="T39" fmla="*/ 180 h 271"/>
                    <a:gd name="T40" fmla="*/ 59 w 1052"/>
                    <a:gd name="T41" fmla="*/ 163 h 271"/>
                    <a:gd name="T42" fmla="*/ 83 w 1052"/>
                    <a:gd name="T43" fmla="*/ 143 h 271"/>
                    <a:gd name="T44" fmla="*/ 103 w 1052"/>
                    <a:gd name="T45" fmla="*/ 118 h 271"/>
                    <a:gd name="T46" fmla="*/ 121 w 1052"/>
                    <a:gd name="T47" fmla="*/ 91 h 271"/>
                    <a:gd name="T48" fmla="*/ 137 w 1052"/>
                    <a:gd name="T49" fmla="*/ 63 h 271"/>
                    <a:gd name="T50" fmla="*/ 150 w 1052"/>
                    <a:gd name="T51" fmla="*/ 32 h 271"/>
                    <a:gd name="T52" fmla="*/ 160 w 1052"/>
                    <a:gd name="T53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52" h="271">
                      <a:moveTo>
                        <a:pt x="160" y="0"/>
                      </a:moveTo>
                      <a:lnTo>
                        <a:pt x="985" y="0"/>
                      </a:lnTo>
                      <a:lnTo>
                        <a:pt x="1005" y="3"/>
                      </a:lnTo>
                      <a:lnTo>
                        <a:pt x="1023" y="11"/>
                      </a:lnTo>
                      <a:lnTo>
                        <a:pt x="1037" y="23"/>
                      </a:lnTo>
                      <a:lnTo>
                        <a:pt x="1047" y="40"/>
                      </a:lnTo>
                      <a:lnTo>
                        <a:pt x="1052" y="58"/>
                      </a:lnTo>
                      <a:lnTo>
                        <a:pt x="1052" y="79"/>
                      </a:lnTo>
                      <a:lnTo>
                        <a:pt x="1033" y="198"/>
                      </a:lnTo>
                      <a:lnTo>
                        <a:pt x="1027" y="218"/>
                      </a:lnTo>
                      <a:lnTo>
                        <a:pt x="1016" y="235"/>
                      </a:lnTo>
                      <a:lnTo>
                        <a:pt x="1002" y="250"/>
                      </a:lnTo>
                      <a:lnTo>
                        <a:pt x="985" y="262"/>
                      </a:lnTo>
                      <a:lnTo>
                        <a:pt x="965" y="268"/>
                      </a:lnTo>
                      <a:lnTo>
                        <a:pt x="946" y="271"/>
                      </a:lnTo>
                      <a:lnTo>
                        <a:pt x="1" y="271"/>
                      </a:lnTo>
                      <a:lnTo>
                        <a:pt x="0" y="202"/>
                      </a:lnTo>
                      <a:lnTo>
                        <a:pt x="4" y="196"/>
                      </a:lnTo>
                      <a:lnTo>
                        <a:pt x="7" y="190"/>
                      </a:lnTo>
                      <a:lnTo>
                        <a:pt x="35" y="180"/>
                      </a:lnTo>
                      <a:lnTo>
                        <a:pt x="59" y="163"/>
                      </a:lnTo>
                      <a:lnTo>
                        <a:pt x="83" y="143"/>
                      </a:lnTo>
                      <a:lnTo>
                        <a:pt x="103" y="118"/>
                      </a:lnTo>
                      <a:lnTo>
                        <a:pt x="121" y="91"/>
                      </a:lnTo>
                      <a:lnTo>
                        <a:pt x="137" y="63"/>
                      </a:lnTo>
                      <a:lnTo>
                        <a:pt x="150" y="32"/>
                      </a:lnTo>
                      <a:lnTo>
                        <a:pt x="16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241"/>
                <p:cNvSpPr>
                  <a:spLocks/>
                </p:cNvSpPr>
                <p:nvPr/>
              </p:nvSpPr>
              <p:spPr bwMode="auto">
                <a:xfrm>
                  <a:off x="4230" y="3409"/>
                  <a:ext cx="701" cy="316"/>
                </a:xfrm>
                <a:custGeom>
                  <a:avLst/>
                  <a:gdLst>
                    <a:gd name="T0" fmla="*/ 475 w 3505"/>
                    <a:gd name="T1" fmla="*/ 0 h 1581"/>
                    <a:gd name="T2" fmla="*/ 3030 w 3505"/>
                    <a:gd name="T3" fmla="*/ 0 h 1581"/>
                    <a:gd name="T4" fmla="*/ 3086 w 3505"/>
                    <a:gd name="T5" fmla="*/ 2 h 1581"/>
                    <a:gd name="T6" fmla="*/ 3139 w 3505"/>
                    <a:gd name="T7" fmla="*/ 11 h 1581"/>
                    <a:gd name="T8" fmla="*/ 3190 w 3505"/>
                    <a:gd name="T9" fmla="*/ 26 h 1581"/>
                    <a:gd name="T10" fmla="*/ 3239 w 3505"/>
                    <a:gd name="T11" fmla="*/ 47 h 1581"/>
                    <a:gd name="T12" fmla="*/ 3285 w 3505"/>
                    <a:gd name="T13" fmla="*/ 72 h 1581"/>
                    <a:gd name="T14" fmla="*/ 3327 w 3505"/>
                    <a:gd name="T15" fmla="*/ 102 h 1581"/>
                    <a:gd name="T16" fmla="*/ 3366 w 3505"/>
                    <a:gd name="T17" fmla="*/ 137 h 1581"/>
                    <a:gd name="T18" fmla="*/ 3401 w 3505"/>
                    <a:gd name="T19" fmla="*/ 176 h 1581"/>
                    <a:gd name="T20" fmla="*/ 3431 w 3505"/>
                    <a:gd name="T21" fmla="*/ 217 h 1581"/>
                    <a:gd name="T22" fmla="*/ 3456 w 3505"/>
                    <a:gd name="T23" fmla="*/ 262 h 1581"/>
                    <a:gd name="T24" fmla="*/ 3477 w 3505"/>
                    <a:gd name="T25" fmla="*/ 310 h 1581"/>
                    <a:gd name="T26" fmla="*/ 3492 w 3505"/>
                    <a:gd name="T27" fmla="*/ 361 h 1581"/>
                    <a:gd name="T28" fmla="*/ 3502 w 3505"/>
                    <a:gd name="T29" fmla="*/ 414 h 1581"/>
                    <a:gd name="T30" fmla="*/ 3505 w 3505"/>
                    <a:gd name="T31" fmla="*/ 469 h 1581"/>
                    <a:gd name="T32" fmla="*/ 3355 w 3505"/>
                    <a:gd name="T33" fmla="*/ 1569 h 1581"/>
                    <a:gd name="T34" fmla="*/ 3131 w 3505"/>
                    <a:gd name="T35" fmla="*/ 1569 h 1581"/>
                    <a:gd name="T36" fmla="*/ 3281 w 3505"/>
                    <a:gd name="T37" fmla="*/ 469 h 1581"/>
                    <a:gd name="T38" fmla="*/ 3278 w 3505"/>
                    <a:gd name="T39" fmla="*/ 429 h 1581"/>
                    <a:gd name="T40" fmla="*/ 3268 w 3505"/>
                    <a:gd name="T41" fmla="*/ 391 h 1581"/>
                    <a:gd name="T42" fmla="*/ 3253 w 3505"/>
                    <a:gd name="T43" fmla="*/ 355 h 1581"/>
                    <a:gd name="T44" fmla="*/ 3232 w 3505"/>
                    <a:gd name="T45" fmla="*/ 323 h 1581"/>
                    <a:gd name="T46" fmla="*/ 3208 w 3505"/>
                    <a:gd name="T47" fmla="*/ 294 h 1581"/>
                    <a:gd name="T48" fmla="*/ 3179 w 3505"/>
                    <a:gd name="T49" fmla="*/ 269 h 1581"/>
                    <a:gd name="T50" fmla="*/ 3145 w 3505"/>
                    <a:gd name="T51" fmla="*/ 249 h 1581"/>
                    <a:gd name="T52" fmla="*/ 3109 w 3505"/>
                    <a:gd name="T53" fmla="*/ 235 h 1581"/>
                    <a:gd name="T54" fmla="*/ 3071 w 3505"/>
                    <a:gd name="T55" fmla="*/ 224 h 1581"/>
                    <a:gd name="T56" fmla="*/ 3030 w 3505"/>
                    <a:gd name="T57" fmla="*/ 222 h 1581"/>
                    <a:gd name="T58" fmla="*/ 475 w 3505"/>
                    <a:gd name="T59" fmla="*/ 222 h 1581"/>
                    <a:gd name="T60" fmla="*/ 434 w 3505"/>
                    <a:gd name="T61" fmla="*/ 224 h 1581"/>
                    <a:gd name="T62" fmla="*/ 396 w 3505"/>
                    <a:gd name="T63" fmla="*/ 235 h 1581"/>
                    <a:gd name="T64" fmla="*/ 360 w 3505"/>
                    <a:gd name="T65" fmla="*/ 249 h 1581"/>
                    <a:gd name="T66" fmla="*/ 327 w 3505"/>
                    <a:gd name="T67" fmla="*/ 269 h 1581"/>
                    <a:gd name="T68" fmla="*/ 298 w 3505"/>
                    <a:gd name="T69" fmla="*/ 294 h 1581"/>
                    <a:gd name="T70" fmla="*/ 273 w 3505"/>
                    <a:gd name="T71" fmla="*/ 323 h 1581"/>
                    <a:gd name="T72" fmla="*/ 252 w 3505"/>
                    <a:gd name="T73" fmla="*/ 355 h 1581"/>
                    <a:gd name="T74" fmla="*/ 237 w 3505"/>
                    <a:gd name="T75" fmla="*/ 391 h 1581"/>
                    <a:gd name="T76" fmla="*/ 228 w 3505"/>
                    <a:gd name="T77" fmla="*/ 429 h 1581"/>
                    <a:gd name="T78" fmla="*/ 224 w 3505"/>
                    <a:gd name="T79" fmla="*/ 469 h 1581"/>
                    <a:gd name="T80" fmla="*/ 392 w 3505"/>
                    <a:gd name="T81" fmla="*/ 1581 h 1581"/>
                    <a:gd name="T82" fmla="*/ 169 w 3505"/>
                    <a:gd name="T83" fmla="*/ 1581 h 1581"/>
                    <a:gd name="T84" fmla="*/ 0 w 3505"/>
                    <a:gd name="T85" fmla="*/ 469 h 1581"/>
                    <a:gd name="T86" fmla="*/ 3 w 3505"/>
                    <a:gd name="T87" fmla="*/ 414 h 1581"/>
                    <a:gd name="T88" fmla="*/ 13 w 3505"/>
                    <a:gd name="T89" fmla="*/ 361 h 1581"/>
                    <a:gd name="T90" fmla="*/ 28 w 3505"/>
                    <a:gd name="T91" fmla="*/ 310 h 1581"/>
                    <a:gd name="T92" fmla="*/ 49 w 3505"/>
                    <a:gd name="T93" fmla="*/ 262 h 1581"/>
                    <a:gd name="T94" fmla="*/ 74 w 3505"/>
                    <a:gd name="T95" fmla="*/ 217 h 1581"/>
                    <a:gd name="T96" fmla="*/ 104 w 3505"/>
                    <a:gd name="T97" fmla="*/ 176 h 1581"/>
                    <a:gd name="T98" fmla="*/ 139 w 3505"/>
                    <a:gd name="T99" fmla="*/ 137 h 1581"/>
                    <a:gd name="T100" fmla="*/ 179 w 3505"/>
                    <a:gd name="T101" fmla="*/ 102 h 1581"/>
                    <a:gd name="T102" fmla="*/ 221 w 3505"/>
                    <a:gd name="T103" fmla="*/ 72 h 1581"/>
                    <a:gd name="T104" fmla="*/ 267 w 3505"/>
                    <a:gd name="T105" fmla="*/ 47 h 1581"/>
                    <a:gd name="T106" fmla="*/ 315 w 3505"/>
                    <a:gd name="T107" fmla="*/ 26 h 1581"/>
                    <a:gd name="T108" fmla="*/ 367 w 3505"/>
                    <a:gd name="T109" fmla="*/ 11 h 1581"/>
                    <a:gd name="T110" fmla="*/ 420 w 3505"/>
                    <a:gd name="T111" fmla="*/ 2 h 1581"/>
                    <a:gd name="T112" fmla="*/ 475 w 3505"/>
                    <a:gd name="T113" fmla="*/ 0 h 15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505" h="1581">
                      <a:moveTo>
                        <a:pt x="475" y="0"/>
                      </a:moveTo>
                      <a:lnTo>
                        <a:pt x="3030" y="0"/>
                      </a:lnTo>
                      <a:lnTo>
                        <a:pt x="3086" y="2"/>
                      </a:lnTo>
                      <a:lnTo>
                        <a:pt x="3139" y="11"/>
                      </a:lnTo>
                      <a:lnTo>
                        <a:pt x="3190" y="26"/>
                      </a:lnTo>
                      <a:lnTo>
                        <a:pt x="3239" y="47"/>
                      </a:lnTo>
                      <a:lnTo>
                        <a:pt x="3285" y="72"/>
                      </a:lnTo>
                      <a:lnTo>
                        <a:pt x="3327" y="102"/>
                      </a:lnTo>
                      <a:lnTo>
                        <a:pt x="3366" y="137"/>
                      </a:lnTo>
                      <a:lnTo>
                        <a:pt x="3401" y="176"/>
                      </a:lnTo>
                      <a:lnTo>
                        <a:pt x="3431" y="217"/>
                      </a:lnTo>
                      <a:lnTo>
                        <a:pt x="3456" y="262"/>
                      </a:lnTo>
                      <a:lnTo>
                        <a:pt x="3477" y="310"/>
                      </a:lnTo>
                      <a:lnTo>
                        <a:pt x="3492" y="361"/>
                      </a:lnTo>
                      <a:lnTo>
                        <a:pt x="3502" y="414"/>
                      </a:lnTo>
                      <a:lnTo>
                        <a:pt x="3505" y="469"/>
                      </a:lnTo>
                      <a:lnTo>
                        <a:pt x="3355" y="1569"/>
                      </a:lnTo>
                      <a:lnTo>
                        <a:pt x="3131" y="1569"/>
                      </a:lnTo>
                      <a:lnTo>
                        <a:pt x="3281" y="469"/>
                      </a:lnTo>
                      <a:lnTo>
                        <a:pt x="3278" y="429"/>
                      </a:lnTo>
                      <a:lnTo>
                        <a:pt x="3268" y="391"/>
                      </a:lnTo>
                      <a:lnTo>
                        <a:pt x="3253" y="355"/>
                      </a:lnTo>
                      <a:lnTo>
                        <a:pt x="3232" y="323"/>
                      </a:lnTo>
                      <a:lnTo>
                        <a:pt x="3208" y="294"/>
                      </a:lnTo>
                      <a:lnTo>
                        <a:pt x="3179" y="269"/>
                      </a:lnTo>
                      <a:lnTo>
                        <a:pt x="3145" y="249"/>
                      </a:lnTo>
                      <a:lnTo>
                        <a:pt x="3109" y="235"/>
                      </a:lnTo>
                      <a:lnTo>
                        <a:pt x="3071" y="224"/>
                      </a:lnTo>
                      <a:lnTo>
                        <a:pt x="3030" y="222"/>
                      </a:lnTo>
                      <a:lnTo>
                        <a:pt x="475" y="222"/>
                      </a:lnTo>
                      <a:lnTo>
                        <a:pt x="434" y="224"/>
                      </a:lnTo>
                      <a:lnTo>
                        <a:pt x="396" y="235"/>
                      </a:lnTo>
                      <a:lnTo>
                        <a:pt x="360" y="249"/>
                      </a:lnTo>
                      <a:lnTo>
                        <a:pt x="327" y="269"/>
                      </a:lnTo>
                      <a:lnTo>
                        <a:pt x="298" y="294"/>
                      </a:lnTo>
                      <a:lnTo>
                        <a:pt x="273" y="323"/>
                      </a:lnTo>
                      <a:lnTo>
                        <a:pt x="252" y="355"/>
                      </a:lnTo>
                      <a:lnTo>
                        <a:pt x="237" y="391"/>
                      </a:lnTo>
                      <a:lnTo>
                        <a:pt x="228" y="429"/>
                      </a:lnTo>
                      <a:lnTo>
                        <a:pt x="224" y="469"/>
                      </a:lnTo>
                      <a:lnTo>
                        <a:pt x="392" y="1581"/>
                      </a:lnTo>
                      <a:lnTo>
                        <a:pt x="169" y="1581"/>
                      </a:lnTo>
                      <a:lnTo>
                        <a:pt x="0" y="469"/>
                      </a:lnTo>
                      <a:lnTo>
                        <a:pt x="3" y="414"/>
                      </a:lnTo>
                      <a:lnTo>
                        <a:pt x="13" y="361"/>
                      </a:lnTo>
                      <a:lnTo>
                        <a:pt x="28" y="310"/>
                      </a:lnTo>
                      <a:lnTo>
                        <a:pt x="49" y="262"/>
                      </a:lnTo>
                      <a:lnTo>
                        <a:pt x="74" y="217"/>
                      </a:lnTo>
                      <a:lnTo>
                        <a:pt x="104" y="176"/>
                      </a:lnTo>
                      <a:lnTo>
                        <a:pt x="139" y="137"/>
                      </a:lnTo>
                      <a:lnTo>
                        <a:pt x="179" y="102"/>
                      </a:lnTo>
                      <a:lnTo>
                        <a:pt x="221" y="72"/>
                      </a:lnTo>
                      <a:lnTo>
                        <a:pt x="267" y="47"/>
                      </a:lnTo>
                      <a:lnTo>
                        <a:pt x="315" y="26"/>
                      </a:lnTo>
                      <a:lnTo>
                        <a:pt x="367" y="11"/>
                      </a:lnTo>
                      <a:lnTo>
                        <a:pt x="420" y="2"/>
                      </a:lnTo>
                      <a:lnTo>
                        <a:pt x="47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242"/>
                <p:cNvSpPr>
                  <a:spLocks/>
                </p:cNvSpPr>
                <p:nvPr/>
              </p:nvSpPr>
              <p:spPr bwMode="auto">
                <a:xfrm>
                  <a:off x="4224" y="3754"/>
                  <a:ext cx="715" cy="214"/>
                </a:xfrm>
                <a:custGeom>
                  <a:avLst/>
                  <a:gdLst>
                    <a:gd name="T0" fmla="*/ 160 w 3574"/>
                    <a:gd name="T1" fmla="*/ 0 h 1071"/>
                    <a:gd name="T2" fmla="*/ 3415 w 3574"/>
                    <a:gd name="T3" fmla="*/ 0 h 1071"/>
                    <a:gd name="T4" fmla="*/ 3441 w 3574"/>
                    <a:gd name="T5" fmla="*/ 2 h 1071"/>
                    <a:gd name="T6" fmla="*/ 3468 w 3574"/>
                    <a:gd name="T7" fmla="*/ 9 h 1071"/>
                    <a:gd name="T8" fmla="*/ 3492 w 3574"/>
                    <a:gd name="T9" fmla="*/ 21 h 1071"/>
                    <a:gd name="T10" fmla="*/ 3516 w 3574"/>
                    <a:gd name="T11" fmla="*/ 36 h 1071"/>
                    <a:gd name="T12" fmla="*/ 3535 w 3574"/>
                    <a:gd name="T13" fmla="*/ 55 h 1071"/>
                    <a:gd name="T14" fmla="*/ 3552 w 3574"/>
                    <a:gd name="T15" fmla="*/ 77 h 1071"/>
                    <a:gd name="T16" fmla="*/ 3563 w 3574"/>
                    <a:gd name="T17" fmla="*/ 101 h 1071"/>
                    <a:gd name="T18" fmla="*/ 3570 w 3574"/>
                    <a:gd name="T19" fmla="*/ 128 h 1071"/>
                    <a:gd name="T20" fmla="*/ 3574 w 3574"/>
                    <a:gd name="T21" fmla="*/ 154 h 1071"/>
                    <a:gd name="T22" fmla="*/ 3573 w 3574"/>
                    <a:gd name="T23" fmla="*/ 182 h 1071"/>
                    <a:gd name="T24" fmla="*/ 3442 w 3574"/>
                    <a:gd name="T25" fmla="*/ 1071 h 1071"/>
                    <a:gd name="T26" fmla="*/ 132 w 3574"/>
                    <a:gd name="T27" fmla="*/ 1071 h 1071"/>
                    <a:gd name="T28" fmla="*/ 2 w 3574"/>
                    <a:gd name="T29" fmla="*/ 182 h 1071"/>
                    <a:gd name="T30" fmla="*/ 0 w 3574"/>
                    <a:gd name="T31" fmla="*/ 154 h 1071"/>
                    <a:gd name="T32" fmla="*/ 3 w 3574"/>
                    <a:gd name="T33" fmla="*/ 128 h 1071"/>
                    <a:gd name="T34" fmla="*/ 10 w 3574"/>
                    <a:gd name="T35" fmla="*/ 101 h 1071"/>
                    <a:gd name="T36" fmla="*/ 23 w 3574"/>
                    <a:gd name="T37" fmla="*/ 77 h 1071"/>
                    <a:gd name="T38" fmla="*/ 38 w 3574"/>
                    <a:gd name="T39" fmla="*/ 55 h 1071"/>
                    <a:gd name="T40" fmla="*/ 59 w 3574"/>
                    <a:gd name="T41" fmla="*/ 36 h 1071"/>
                    <a:gd name="T42" fmla="*/ 81 w 3574"/>
                    <a:gd name="T43" fmla="*/ 21 h 1071"/>
                    <a:gd name="T44" fmla="*/ 106 w 3574"/>
                    <a:gd name="T45" fmla="*/ 9 h 1071"/>
                    <a:gd name="T46" fmla="*/ 132 w 3574"/>
                    <a:gd name="T47" fmla="*/ 2 h 1071"/>
                    <a:gd name="T48" fmla="*/ 160 w 3574"/>
                    <a:gd name="T49" fmla="*/ 0 h 10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574" h="1071">
                      <a:moveTo>
                        <a:pt x="160" y="0"/>
                      </a:moveTo>
                      <a:lnTo>
                        <a:pt x="3415" y="0"/>
                      </a:lnTo>
                      <a:lnTo>
                        <a:pt x="3441" y="2"/>
                      </a:lnTo>
                      <a:lnTo>
                        <a:pt x="3468" y="9"/>
                      </a:lnTo>
                      <a:lnTo>
                        <a:pt x="3492" y="21"/>
                      </a:lnTo>
                      <a:lnTo>
                        <a:pt x="3516" y="36"/>
                      </a:lnTo>
                      <a:lnTo>
                        <a:pt x="3535" y="55"/>
                      </a:lnTo>
                      <a:lnTo>
                        <a:pt x="3552" y="77"/>
                      </a:lnTo>
                      <a:lnTo>
                        <a:pt x="3563" y="101"/>
                      </a:lnTo>
                      <a:lnTo>
                        <a:pt x="3570" y="128"/>
                      </a:lnTo>
                      <a:lnTo>
                        <a:pt x="3574" y="154"/>
                      </a:lnTo>
                      <a:lnTo>
                        <a:pt x="3573" y="182"/>
                      </a:lnTo>
                      <a:lnTo>
                        <a:pt x="3442" y="1071"/>
                      </a:lnTo>
                      <a:lnTo>
                        <a:pt x="132" y="1071"/>
                      </a:lnTo>
                      <a:lnTo>
                        <a:pt x="2" y="182"/>
                      </a:lnTo>
                      <a:lnTo>
                        <a:pt x="0" y="154"/>
                      </a:lnTo>
                      <a:lnTo>
                        <a:pt x="3" y="128"/>
                      </a:lnTo>
                      <a:lnTo>
                        <a:pt x="10" y="101"/>
                      </a:lnTo>
                      <a:lnTo>
                        <a:pt x="23" y="77"/>
                      </a:lnTo>
                      <a:lnTo>
                        <a:pt x="38" y="55"/>
                      </a:lnTo>
                      <a:lnTo>
                        <a:pt x="59" y="36"/>
                      </a:lnTo>
                      <a:lnTo>
                        <a:pt x="81" y="21"/>
                      </a:lnTo>
                      <a:lnTo>
                        <a:pt x="106" y="9"/>
                      </a:lnTo>
                      <a:lnTo>
                        <a:pt x="132" y="2"/>
                      </a:lnTo>
                      <a:lnTo>
                        <a:pt x="16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2" name="Freeform 243"/>
                <p:cNvSpPr>
                  <a:spLocks/>
                </p:cNvSpPr>
                <p:nvPr/>
              </p:nvSpPr>
              <p:spPr bwMode="auto">
                <a:xfrm>
                  <a:off x="4329" y="3324"/>
                  <a:ext cx="484" cy="49"/>
                </a:xfrm>
                <a:custGeom>
                  <a:avLst/>
                  <a:gdLst>
                    <a:gd name="T0" fmla="*/ 61 w 2416"/>
                    <a:gd name="T1" fmla="*/ 0 h 245"/>
                    <a:gd name="T2" fmla="*/ 2357 w 2416"/>
                    <a:gd name="T3" fmla="*/ 0 h 245"/>
                    <a:gd name="T4" fmla="*/ 2374 w 2416"/>
                    <a:gd name="T5" fmla="*/ 2 h 245"/>
                    <a:gd name="T6" fmla="*/ 2391 w 2416"/>
                    <a:gd name="T7" fmla="*/ 9 h 245"/>
                    <a:gd name="T8" fmla="*/ 2403 w 2416"/>
                    <a:gd name="T9" fmla="*/ 22 h 245"/>
                    <a:gd name="T10" fmla="*/ 2413 w 2416"/>
                    <a:gd name="T11" fmla="*/ 37 h 245"/>
                    <a:gd name="T12" fmla="*/ 2416 w 2416"/>
                    <a:gd name="T13" fmla="*/ 54 h 245"/>
                    <a:gd name="T14" fmla="*/ 2415 w 2416"/>
                    <a:gd name="T15" fmla="*/ 72 h 245"/>
                    <a:gd name="T16" fmla="*/ 2374 w 2416"/>
                    <a:gd name="T17" fmla="*/ 245 h 245"/>
                    <a:gd name="T18" fmla="*/ 44 w 2416"/>
                    <a:gd name="T19" fmla="*/ 245 h 245"/>
                    <a:gd name="T20" fmla="*/ 1 w 2416"/>
                    <a:gd name="T21" fmla="*/ 73 h 245"/>
                    <a:gd name="T22" fmla="*/ 0 w 2416"/>
                    <a:gd name="T23" fmla="*/ 56 h 245"/>
                    <a:gd name="T24" fmla="*/ 4 w 2416"/>
                    <a:gd name="T25" fmla="*/ 38 h 245"/>
                    <a:gd name="T26" fmla="*/ 13 w 2416"/>
                    <a:gd name="T27" fmla="*/ 23 h 245"/>
                    <a:gd name="T28" fmla="*/ 27 w 2416"/>
                    <a:gd name="T29" fmla="*/ 10 h 245"/>
                    <a:gd name="T30" fmla="*/ 43 w 2416"/>
                    <a:gd name="T31" fmla="*/ 2 h 245"/>
                    <a:gd name="T32" fmla="*/ 61 w 2416"/>
                    <a:gd name="T33" fmla="*/ 0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16" h="245">
                      <a:moveTo>
                        <a:pt x="61" y="0"/>
                      </a:moveTo>
                      <a:lnTo>
                        <a:pt x="2357" y="0"/>
                      </a:lnTo>
                      <a:lnTo>
                        <a:pt x="2374" y="2"/>
                      </a:lnTo>
                      <a:lnTo>
                        <a:pt x="2391" y="9"/>
                      </a:lnTo>
                      <a:lnTo>
                        <a:pt x="2403" y="22"/>
                      </a:lnTo>
                      <a:lnTo>
                        <a:pt x="2413" y="37"/>
                      </a:lnTo>
                      <a:lnTo>
                        <a:pt x="2416" y="54"/>
                      </a:lnTo>
                      <a:lnTo>
                        <a:pt x="2415" y="72"/>
                      </a:lnTo>
                      <a:lnTo>
                        <a:pt x="2374" y="245"/>
                      </a:lnTo>
                      <a:lnTo>
                        <a:pt x="44" y="245"/>
                      </a:lnTo>
                      <a:lnTo>
                        <a:pt x="1" y="73"/>
                      </a:lnTo>
                      <a:lnTo>
                        <a:pt x="0" y="56"/>
                      </a:lnTo>
                      <a:lnTo>
                        <a:pt x="4" y="38"/>
                      </a:lnTo>
                      <a:lnTo>
                        <a:pt x="13" y="23"/>
                      </a:lnTo>
                      <a:lnTo>
                        <a:pt x="27" y="10"/>
                      </a:lnTo>
                      <a:lnTo>
                        <a:pt x="43" y="2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3" name="Freeform 244"/>
                <p:cNvSpPr>
                  <a:spLocks/>
                </p:cNvSpPr>
                <p:nvPr/>
              </p:nvSpPr>
              <p:spPr bwMode="auto">
                <a:xfrm>
                  <a:off x="4377" y="3247"/>
                  <a:ext cx="388" cy="50"/>
                </a:xfrm>
                <a:custGeom>
                  <a:avLst/>
                  <a:gdLst>
                    <a:gd name="T0" fmla="*/ 60 w 1940"/>
                    <a:gd name="T1" fmla="*/ 0 h 246"/>
                    <a:gd name="T2" fmla="*/ 1881 w 1940"/>
                    <a:gd name="T3" fmla="*/ 0 h 246"/>
                    <a:gd name="T4" fmla="*/ 1898 w 1940"/>
                    <a:gd name="T5" fmla="*/ 2 h 246"/>
                    <a:gd name="T6" fmla="*/ 1913 w 1940"/>
                    <a:gd name="T7" fmla="*/ 10 h 246"/>
                    <a:gd name="T8" fmla="*/ 1927 w 1940"/>
                    <a:gd name="T9" fmla="*/ 22 h 246"/>
                    <a:gd name="T10" fmla="*/ 1935 w 1940"/>
                    <a:gd name="T11" fmla="*/ 37 h 246"/>
                    <a:gd name="T12" fmla="*/ 1940 w 1940"/>
                    <a:gd name="T13" fmla="*/ 53 h 246"/>
                    <a:gd name="T14" fmla="*/ 1940 w 1940"/>
                    <a:gd name="T15" fmla="*/ 70 h 246"/>
                    <a:gd name="T16" fmla="*/ 1906 w 1940"/>
                    <a:gd name="T17" fmla="*/ 246 h 246"/>
                    <a:gd name="T18" fmla="*/ 35 w 1940"/>
                    <a:gd name="T19" fmla="*/ 246 h 246"/>
                    <a:gd name="T20" fmla="*/ 0 w 1940"/>
                    <a:gd name="T21" fmla="*/ 71 h 246"/>
                    <a:gd name="T22" fmla="*/ 0 w 1940"/>
                    <a:gd name="T23" fmla="*/ 54 h 246"/>
                    <a:gd name="T24" fmla="*/ 4 w 1940"/>
                    <a:gd name="T25" fmla="*/ 37 h 246"/>
                    <a:gd name="T26" fmla="*/ 13 w 1940"/>
                    <a:gd name="T27" fmla="*/ 22 h 246"/>
                    <a:gd name="T28" fmla="*/ 26 w 1940"/>
                    <a:gd name="T29" fmla="*/ 10 h 246"/>
                    <a:gd name="T30" fmla="*/ 42 w 1940"/>
                    <a:gd name="T31" fmla="*/ 3 h 246"/>
                    <a:gd name="T32" fmla="*/ 60 w 1940"/>
                    <a:gd name="T33" fmla="*/ 0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40" h="246">
                      <a:moveTo>
                        <a:pt x="60" y="0"/>
                      </a:moveTo>
                      <a:lnTo>
                        <a:pt x="1881" y="0"/>
                      </a:lnTo>
                      <a:lnTo>
                        <a:pt x="1898" y="2"/>
                      </a:lnTo>
                      <a:lnTo>
                        <a:pt x="1913" y="10"/>
                      </a:lnTo>
                      <a:lnTo>
                        <a:pt x="1927" y="22"/>
                      </a:lnTo>
                      <a:lnTo>
                        <a:pt x="1935" y="37"/>
                      </a:lnTo>
                      <a:lnTo>
                        <a:pt x="1940" y="53"/>
                      </a:lnTo>
                      <a:lnTo>
                        <a:pt x="1940" y="70"/>
                      </a:lnTo>
                      <a:lnTo>
                        <a:pt x="1906" y="246"/>
                      </a:lnTo>
                      <a:lnTo>
                        <a:pt x="35" y="246"/>
                      </a:lnTo>
                      <a:lnTo>
                        <a:pt x="0" y="71"/>
                      </a:lnTo>
                      <a:lnTo>
                        <a:pt x="0" y="54"/>
                      </a:lnTo>
                      <a:lnTo>
                        <a:pt x="4" y="37"/>
                      </a:lnTo>
                      <a:lnTo>
                        <a:pt x="13" y="22"/>
                      </a:lnTo>
                      <a:lnTo>
                        <a:pt x="26" y="10"/>
                      </a:lnTo>
                      <a:lnTo>
                        <a:pt x="42" y="3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24" name="Group 4"/>
              <p:cNvGrpSpPr>
                <a:grpSpLocks noChangeAspect="1"/>
              </p:cNvGrpSpPr>
              <p:nvPr/>
            </p:nvGrpSpPr>
            <p:grpSpPr bwMode="auto">
              <a:xfrm>
                <a:off x="4567238" y="4692532"/>
                <a:ext cx="549805" cy="686040"/>
                <a:chOff x="-755" y="1263"/>
                <a:chExt cx="565" cy="705"/>
              </a:xfrm>
              <a:solidFill>
                <a:schemeClr val="bg1"/>
              </a:solidFill>
            </p:grpSpPr>
            <p:sp>
              <p:nvSpPr>
                <p:cNvPr id="125" name="Freeform 6"/>
                <p:cNvSpPr>
                  <a:spLocks noEditPoints="1"/>
                </p:cNvSpPr>
                <p:nvPr/>
              </p:nvSpPr>
              <p:spPr bwMode="auto">
                <a:xfrm>
                  <a:off x="-755" y="1263"/>
                  <a:ext cx="406" cy="705"/>
                </a:xfrm>
                <a:custGeom>
                  <a:avLst/>
                  <a:gdLst>
                    <a:gd name="T0" fmla="*/ 979 w 2028"/>
                    <a:gd name="T1" fmla="*/ 2986 h 3528"/>
                    <a:gd name="T2" fmla="*/ 918 w 2028"/>
                    <a:gd name="T3" fmla="*/ 3013 h 3528"/>
                    <a:gd name="T4" fmla="*/ 871 w 2028"/>
                    <a:gd name="T5" fmla="*/ 3061 h 3528"/>
                    <a:gd name="T6" fmla="*/ 846 w 2028"/>
                    <a:gd name="T7" fmla="*/ 3124 h 3528"/>
                    <a:gd name="T8" fmla="*/ 846 w 2028"/>
                    <a:gd name="T9" fmla="*/ 3195 h 3528"/>
                    <a:gd name="T10" fmla="*/ 871 w 2028"/>
                    <a:gd name="T11" fmla="*/ 3257 h 3528"/>
                    <a:gd name="T12" fmla="*/ 918 w 2028"/>
                    <a:gd name="T13" fmla="*/ 3305 h 3528"/>
                    <a:gd name="T14" fmla="*/ 979 w 2028"/>
                    <a:gd name="T15" fmla="*/ 3332 h 3528"/>
                    <a:gd name="T16" fmla="*/ 1049 w 2028"/>
                    <a:gd name="T17" fmla="*/ 3332 h 3528"/>
                    <a:gd name="T18" fmla="*/ 1110 w 2028"/>
                    <a:gd name="T19" fmla="*/ 3305 h 3528"/>
                    <a:gd name="T20" fmla="*/ 1156 w 2028"/>
                    <a:gd name="T21" fmla="*/ 3257 h 3528"/>
                    <a:gd name="T22" fmla="*/ 1182 w 2028"/>
                    <a:gd name="T23" fmla="*/ 3195 h 3528"/>
                    <a:gd name="T24" fmla="*/ 1182 w 2028"/>
                    <a:gd name="T25" fmla="*/ 3124 h 3528"/>
                    <a:gd name="T26" fmla="*/ 1156 w 2028"/>
                    <a:gd name="T27" fmla="*/ 3061 h 3528"/>
                    <a:gd name="T28" fmla="*/ 1110 w 2028"/>
                    <a:gd name="T29" fmla="*/ 3013 h 3528"/>
                    <a:gd name="T30" fmla="*/ 1049 w 2028"/>
                    <a:gd name="T31" fmla="*/ 2986 h 3528"/>
                    <a:gd name="T32" fmla="*/ 375 w 2028"/>
                    <a:gd name="T33" fmla="*/ 0 h 3528"/>
                    <a:gd name="T34" fmla="*/ 1703 w 2028"/>
                    <a:gd name="T35" fmla="*/ 3 h 3528"/>
                    <a:gd name="T36" fmla="*/ 1798 w 2028"/>
                    <a:gd name="T37" fmla="*/ 31 h 3528"/>
                    <a:gd name="T38" fmla="*/ 1882 w 2028"/>
                    <a:gd name="T39" fmla="*/ 80 h 3528"/>
                    <a:gd name="T40" fmla="*/ 1950 w 2028"/>
                    <a:gd name="T41" fmla="*/ 150 h 3528"/>
                    <a:gd name="T42" fmla="*/ 1998 w 2028"/>
                    <a:gd name="T43" fmla="*/ 235 h 3528"/>
                    <a:gd name="T44" fmla="*/ 2025 w 2028"/>
                    <a:gd name="T45" fmla="*/ 332 h 3528"/>
                    <a:gd name="T46" fmla="*/ 2028 w 2028"/>
                    <a:gd name="T47" fmla="*/ 609 h 3528"/>
                    <a:gd name="T48" fmla="*/ 1814 w 2028"/>
                    <a:gd name="T49" fmla="*/ 433 h 3528"/>
                    <a:gd name="T50" fmla="*/ 214 w 2028"/>
                    <a:gd name="T51" fmla="*/ 2790 h 3528"/>
                    <a:gd name="T52" fmla="*/ 1814 w 2028"/>
                    <a:gd name="T53" fmla="*/ 2786 h 3528"/>
                    <a:gd name="T54" fmla="*/ 2028 w 2028"/>
                    <a:gd name="T55" fmla="*/ 3144 h 3528"/>
                    <a:gd name="T56" fmla="*/ 2015 w 2028"/>
                    <a:gd name="T57" fmla="*/ 3244 h 3528"/>
                    <a:gd name="T58" fmla="*/ 1977 w 2028"/>
                    <a:gd name="T59" fmla="*/ 3336 h 3528"/>
                    <a:gd name="T60" fmla="*/ 1918 w 2028"/>
                    <a:gd name="T61" fmla="*/ 3414 h 3528"/>
                    <a:gd name="T62" fmla="*/ 1842 w 2028"/>
                    <a:gd name="T63" fmla="*/ 3475 h 3528"/>
                    <a:gd name="T64" fmla="*/ 1752 w 2028"/>
                    <a:gd name="T65" fmla="*/ 3514 h 3528"/>
                    <a:gd name="T66" fmla="*/ 1653 w 2028"/>
                    <a:gd name="T67" fmla="*/ 3528 h 3528"/>
                    <a:gd name="T68" fmla="*/ 324 w 2028"/>
                    <a:gd name="T69" fmla="*/ 3524 h 3528"/>
                    <a:gd name="T70" fmla="*/ 229 w 2028"/>
                    <a:gd name="T71" fmla="*/ 3497 h 3528"/>
                    <a:gd name="T72" fmla="*/ 146 w 2028"/>
                    <a:gd name="T73" fmla="*/ 3447 h 3528"/>
                    <a:gd name="T74" fmla="*/ 78 w 2028"/>
                    <a:gd name="T75" fmla="*/ 3377 h 3528"/>
                    <a:gd name="T76" fmla="*/ 29 w 2028"/>
                    <a:gd name="T77" fmla="*/ 3293 h 3528"/>
                    <a:gd name="T78" fmla="*/ 3 w 2028"/>
                    <a:gd name="T79" fmla="*/ 3195 h 3528"/>
                    <a:gd name="T80" fmla="*/ 0 w 2028"/>
                    <a:gd name="T81" fmla="*/ 384 h 3528"/>
                    <a:gd name="T82" fmla="*/ 13 w 2028"/>
                    <a:gd name="T83" fmla="*/ 282 h 3528"/>
                    <a:gd name="T84" fmla="*/ 51 w 2028"/>
                    <a:gd name="T85" fmla="*/ 190 h 3528"/>
                    <a:gd name="T86" fmla="*/ 110 w 2028"/>
                    <a:gd name="T87" fmla="*/ 113 h 3528"/>
                    <a:gd name="T88" fmla="*/ 186 w 2028"/>
                    <a:gd name="T89" fmla="*/ 52 h 3528"/>
                    <a:gd name="T90" fmla="*/ 276 w 2028"/>
                    <a:gd name="T91" fmla="*/ 13 h 3528"/>
                    <a:gd name="T92" fmla="*/ 375 w 2028"/>
                    <a:gd name="T93" fmla="*/ 0 h 3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028" h="3528">
                      <a:moveTo>
                        <a:pt x="1014" y="2983"/>
                      </a:moveTo>
                      <a:lnTo>
                        <a:pt x="979" y="2986"/>
                      </a:lnTo>
                      <a:lnTo>
                        <a:pt x="947" y="2997"/>
                      </a:lnTo>
                      <a:lnTo>
                        <a:pt x="918" y="3013"/>
                      </a:lnTo>
                      <a:lnTo>
                        <a:pt x="892" y="3035"/>
                      </a:lnTo>
                      <a:lnTo>
                        <a:pt x="871" y="3061"/>
                      </a:lnTo>
                      <a:lnTo>
                        <a:pt x="856" y="3091"/>
                      </a:lnTo>
                      <a:lnTo>
                        <a:pt x="846" y="3124"/>
                      </a:lnTo>
                      <a:lnTo>
                        <a:pt x="842" y="3160"/>
                      </a:lnTo>
                      <a:lnTo>
                        <a:pt x="846" y="3195"/>
                      </a:lnTo>
                      <a:lnTo>
                        <a:pt x="856" y="3227"/>
                      </a:lnTo>
                      <a:lnTo>
                        <a:pt x="871" y="3257"/>
                      </a:lnTo>
                      <a:lnTo>
                        <a:pt x="892" y="3283"/>
                      </a:lnTo>
                      <a:lnTo>
                        <a:pt x="918" y="3305"/>
                      </a:lnTo>
                      <a:lnTo>
                        <a:pt x="947" y="3321"/>
                      </a:lnTo>
                      <a:lnTo>
                        <a:pt x="979" y="3332"/>
                      </a:lnTo>
                      <a:lnTo>
                        <a:pt x="1014" y="3335"/>
                      </a:lnTo>
                      <a:lnTo>
                        <a:pt x="1049" y="3332"/>
                      </a:lnTo>
                      <a:lnTo>
                        <a:pt x="1081" y="3321"/>
                      </a:lnTo>
                      <a:lnTo>
                        <a:pt x="1110" y="3305"/>
                      </a:lnTo>
                      <a:lnTo>
                        <a:pt x="1136" y="3283"/>
                      </a:lnTo>
                      <a:lnTo>
                        <a:pt x="1156" y="3257"/>
                      </a:lnTo>
                      <a:lnTo>
                        <a:pt x="1172" y="3227"/>
                      </a:lnTo>
                      <a:lnTo>
                        <a:pt x="1182" y="3195"/>
                      </a:lnTo>
                      <a:lnTo>
                        <a:pt x="1186" y="3160"/>
                      </a:lnTo>
                      <a:lnTo>
                        <a:pt x="1182" y="3124"/>
                      </a:lnTo>
                      <a:lnTo>
                        <a:pt x="1172" y="3091"/>
                      </a:lnTo>
                      <a:lnTo>
                        <a:pt x="1156" y="3061"/>
                      </a:lnTo>
                      <a:lnTo>
                        <a:pt x="1136" y="3035"/>
                      </a:lnTo>
                      <a:lnTo>
                        <a:pt x="1110" y="3013"/>
                      </a:lnTo>
                      <a:lnTo>
                        <a:pt x="1081" y="2997"/>
                      </a:lnTo>
                      <a:lnTo>
                        <a:pt x="1049" y="2986"/>
                      </a:lnTo>
                      <a:lnTo>
                        <a:pt x="1014" y="2983"/>
                      </a:lnTo>
                      <a:close/>
                      <a:moveTo>
                        <a:pt x="375" y="0"/>
                      </a:moveTo>
                      <a:lnTo>
                        <a:pt x="1653" y="0"/>
                      </a:lnTo>
                      <a:lnTo>
                        <a:pt x="1703" y="3"/>
                      </a:lnTo>
                      <a:lnTo>
                        <a:pt x="1752" y="13"/>
                      </a:lnTo>
                      <a:lnTo>
                        <a:pt x="1798" y="31"/>
                      </a:lnTo>
                      <a:lnTo>
                        <a:pt x="1842" y="52"/>
                      </a:lnTo>
                      <a:lnTo>
                        <a:pt x="1882" y="80"/>
                      </a:lnTo>
                      <a:lnTo>
                        <a:pt x="1918" y="113"/>
                      </a:lnTo>
                      <a:lnTo>
                        <a:pt x="1950" y="150"/>
                      </a:lnTo>
                      <a:lnTo>
                        <a:pt x="1977" y="190"/>
                      </a:lnTo>
                      <a:lnTo>
                        <a:pt x="1998" y="235"/>
                      </a:lnTo>
                      <a:lnTo>
                        <a:pt x="2015" y="282"/>
                      </a:lnTo>
                      <a:lnTo>
                        <a:pt x="2025" y="332"/>
                      </a:lnTo>
                      <a:lnTo>
                        <a:pt x="2028" y="384"/>
                      </a:lnTo>
                      <a:lnTo>
                        <a:pt x="2028" y="609"/>
                      </a:lnTo>
                      <a:lnTo>
                        <a:pt x="1814" y="609"/>
                      </a:lnTo>
                      <a:lnTo>
                        <a:pt x="1814" y="433"/>
                      </a:lnTo>
                      <a:lnTo>
                        <a:pt x="214" y="433"/>
                      </a:lnTo>
                      <a:lnTo>
                        <a:pt x="214" y="2790"/>
                      </a:lnTo>
                      <a:lnTo>
                        <a:pt x="1814" y="2790"/>
                      </a:lnTo>
                      <a:lnTo>
                        <a:pt x="1814" y="2786"/>
                      </a:lnTo>
                      <a:lnTo>
                        <a:pt x="2028" y="2786"/>
                      </a:lnTo>
                      <a:lnTo>
                        <a:pt x="2028" y="3144"/>
                      </a:lnTo>
                      <a:lnTo>
                        <a:pt x="2025" y="3195"/>
                      </a:lnTo>
                      <a:lnTo>
                        <a:pt x="2015" y="3244"/>
                      </a:lnTo>
                      <a:lnTo>
                        <a:pt x="1998" y="3293"/>
                      </a:lnTo>
                      <a:lnTo>
                        <a:pt x="1977" y="3336"/>
                      </a:lnTo>
                      <a:lnTo>
                        <a:pt x="1950" y="3377"/>
                      </a:lnTo>
                      <a:lnTo>
                        <a:pt x="1918" y="3414"/>
                      </a:lnTo>
                      <a:lnTo>
                        <a:pt x="1882" y="3447"/>
                      </a:lnTo>
                      <a:lnTo>
                        <a:pt x="1842" y="3475"/>
                      </a:lnTo>
                      <a:lnTo>
                        <a:pt x="1798" y="3497"/>
                      </a:lnTo>
                      <a:lnTo>
                        <a:pt x="1752" y="3514"/>
                      </a:lnTo>
                      <a:lnTo>
                        <a:pt x="1703" y="3524"/>
                      </a:lnTo>
                      <a:lnTo>
                        <a:pt x="1653" y="3528"/>
                      </a:lnTo>
                      <a:lnTo>
                        <a:pt x="375" y="3528"/>
                      </a:lnTo>
                      <a:lnTo>
                        <a:pt x="324" y="3524"/>
                      </a:lnTo>
                      <a:lnTo>
                        <a:pt x="276" y="3514"/>
                      </a:lnTo>
                      <a:lnTo>
                        <a:pt x="229" y="3497"/>
                      </a:lnTo>
                      <a:lnTo>
                        <a:pt x="186" y="3475"/>
                      </a:lnTo>
                      <a:lnTo>
                        <a:pt x="146" y="3447"/>
                      </a:lnTo>
                      <a:lnTo>
                        <a:pt x="110" y="3414"/>
                      </a:lnTo>
                      <a:lnTo>
                        <a:pt x="78" y="3377"/>
                      </a:lnTo>
                      <a:lnTo>
                        <a:pt x="51" y="3336"/>
                      </a:lnTo>
                      <a:lnTo>
                        <a:pt x="29" y="3293"/>
                      </a:lnTo>
                      <a:lnTo>
                        <a:pt x="13" y="3244"/>
                      </a:lnTo>
                      <a:lnTo>
                        <a:pt x="3" y="3195"/>
                      </a:lnTo>
                      <a:lnTo>
                        <a:pt x="0" y="3144"/>
                      </a:lnTo>
                      <a:lnTo>
                        <a:pt x="0" y="384"/>
                      </a:lnTo>
                      <a:lnTo>
                        <a:pt x="3" y="332"/>
                      </a:lnTo>
                      <a:lnTo>
                        <a:pt x="13" y="282"/>
                      </a:lnTo>
                      <a:lnTo>
                        <a:pt x="29" y="235"/>
                      </a:lnTo>
                      <a:lnTo>
                        <a:pt x="51" y="190"/>
                      </a:lnTo>
                      <a:lnTo>
                        <a:pt x="78" y="150"/>
                      </a:lnTo>
                      <a:lnTo>
                        <a:pt x="110" y="113"/>
                      </a:lnTo>
                      <a:lnTo>
                        <a:pt x="146" y="80"/>
                      </a:lnTo>
                      <a:lnTo>
                        <a:pt x="186" y="52"/>
                      </a:lnTo>
                      <a:lnTo>
                        <a:pt x="229" y="31"/>
                      </a:lnTo>
                      <a:lnTo>
                        <a:pt x="276" y="13"/>
                      </a:lnTo>
                      <a:lnTo>
                        <a:pt x="324" y="3"/>
                      </a:lnTo>
                      <a:lnTo>
                        <a:pt x="37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6" name="Rectangle 7"/>
                <p:cNvSpPr>
                  <a:spLocks noChangeArrowheads="1"/>
                </p:cNvSpPr>
                <p:nvPr/>
              </p:nvSpPr>
              <p:spPr bwMode="auto">
                <a:xfrm>
                  <a:off x="-676" y="1397"/>
                  <a:ext cx="96" cy="6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7" name="Rectangle 8"/>
                <p:cNvSpPr>
                  <a:spLocks noChangeArrowheads="1"/>
                </p:cNvSpPr>
                <p:nvPr/>
              </p:nvSpPr>
              <p:spPr bwMode="auto">
                <a:xfrm>
                  <a:off x="-676" y="1550"/>
                  <a:ext cx="96" cy="61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Rectangle 9"/>
                <p:cNvSpPr>
                  <a:spLocks noChangeArrowheads="1"/>
                </p:cNvSpPr>
                <p:nvPr/>
              </p:nvSpPr>
              <p:spPr bwMode="auto">
                <a:xfrm>
                  <a:off x="-676" y="1711"/>
                  <a:ext cx="96" cy="61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9" name="Freeform 10"/>
                <p:cNvSpPr>
                  <a:spLocks noEditPoints="1"/>
                </p:cNvSpPr>
                <p:nvPr/>
              </p:nvSpPr>
              <p:spPr bwMode="auto">
                <a:xfrm>
                  <a:off x="-544" y="1420"/>
                  <a:ext cx="354" cy="364"/>
                </a:xfrm>
                <a:custGeom>
                  <a:avLst/>
                  <a:gdLst>
                    <a:gd name="T0" fmla="*/ 845 w 1770"/>
                    <a:gd name="T1" fmla="*/ 634 h 1820"/>
                    <a:gd name="T2" fmla="*/ 771 w 1770"/>
                    <a:gd name="T3" fmla="*/ 657 h 1820"/>
                    <a:gd name="T4" fmla="*/ 707 w 1770"/>
                    <a:gd name="T5" fmla="*/ 699 h 1820"/>
                    <a:gd name="T6" fmla="*/ 658 w 1770"/>
                    <a:gd name="T7" fmla="*/ 758 h 1820"/>
                    <a:gd name="T8" fmla="*/ 626 w 1770"/>
                    <a:gd name="T9" fmla="*/ 829 h 1820"/>
                    <a:gd name="T10" fmla="*/ 615 w 1770"/>
                    <a:gd name="T11" fmla="*/ 909 h 1820"/>
                    <a:gd name="T12" fmla="*/ 626 w 1770"/>
                    <a:gd name="T13" fmla="*/ 990 h 1820"/>
                    <a:gd name="T14" fmla="*/ 658 w 1770"/>
                    <a:gd name="T15" fmla="*/ 1061 h 1820"/>
                    <a:gd name="T16" fmla="*/ 707 w 1770"/>
                    <a:gd name="T17" fmla="*/ 1119 h 1820"/>
                    <a:gd name="T18" fmla="*/ 771 w 1770"/>
                    <a:gd name="T19" fmla="*/ 1162 h 1820"/>
                    <a:gd name="T20" fmla="*/ 845 w 1770"/>
                    <a:gd name="T21" fmla="*/ 1185 h 1820"/>
                    <a:gd name="T22" fmla="*/ 925 w 1770"/>
                    <a:gd name="T23" fmla="*/ 1185 h 1820"/>
                    <a:gd name="T24" fmla="*/ 998 w 1770"/>
                    <a:gd name="T25" fmla="*/ 1162 h 1820"/>
                    <a:gd name="T26" fmla="*/ 1062 w 1770"/>
                    <a:gd name="T27" fmla="*/ 1119 h 1820"/>
                    <a:gd name="T28" fmla="*/ 1111 w 1770"/>
                    <a:gd name="T29" fmla="*/ 1062 h 1820"/>
                    <a:gd name="T30" fmla="*/ 1143 w 1770"/>
                    <a:gd name="T31" fmla="*/ 990 h 1820"/>
                    <a:gd name="T32" fmla="*/ 1155 w 1770"/>
                    <a:gd name="T33" fmla="*/ 909 h 1820"/>
                    <a:gd name="T34" fmla="*/ 1143 w 1770"/>
                    <a:gd name="T35" fmla="*/ 829 h 1820"/>
                    <a:gd name="T36" fmla="*/ 1111 w 1770"/>
                    <a:gd name="T37" fmla="*/ 758 h 1820"/>
                    <a:gd name="T38" fmla="*/ 1062 w 1770"/>
                    <a:gd name="T39" fmla="*/ 699 h 1820"/>
                    <a:gd name="T40" fmla="*/ 998 w 1770"/>
                    <a:gd name="T41" fmla="*/ 657 h 1820"/>
                    <a:gd name="T42" fmla="*/ 925 w 1770"/>
                    <a:gd name="T43" fmla="*/ 634 h 1820"/>
                    <a:gd name="T44" fmla="*/ 761 w 1770"/>
                    <a:gd name="T45" fmla="*/ 0 h 1820"/>
                    <a:gd name="T46" fmla="*/ 1009 w 1770"/>
                    <a:gd name="T47" fmla="*/ 250 h 1820"/>
                    <a:gd name="T48" fmla="*/ 1112 w 1770"/>
                    <a:gd name="T49" fmla="*/ 280 h 1820"/>
                    <a:gd name="T50" fmla="*/ 1207 w 1770"/>
                    <a:gd name="T51" fmla="*/ 324 h 1820"/>
                    <a:gd name="T52" fmla="*/ 1423 w 1770"/>
                    <a:gd name="T53" fmla="*/ 176 h 1820"/>
                    <a:gd name="T54" fmla="*/ 1427 w 1770"/>
                    <a:gd name="T55" fmla="*/ 533 h 1820"/>
                    <a:gd name="T56" fmla="*/ 1478 w 1770"/>
                    <a:gd name="T57" fmla="*/ 626 h 1820"/>
                    <a:gd name="T58" fmla="*/ 1515 w 1770"/>
                    <a:gd name="T59" fmla="*/ 728 h 1820"/>
                    <a:gd name="T60" fmla="*/ 1770 w 1770"/>
                    <a:gd name="T61" fmla="*/ 782 h 1820"/>
                    <a:gd name="T62" fmla="*/ 1527 w 1770"/>
                    <a:gd name="T63" fmla="*/ 1038 h 1820"/>
                    <a:gd name="T64" fmla="*/ 1498 w 1770"/>
                    <a:gd name="T65" fmla="*/ 1143 h 1820"/>
                    <a:gd name="T66" fmla="*/ 1455 w 1770"/>
                    <a:gd name="T67" fmla="*/ 1241 h 1820"/>
                    <a:gd name="T68" fmla="*/ 1599 w 1770"/>
                    <a:gd name="T69" fmla="*/ 1463 h 1820"/>
                    <a:gd name="T70" fmla="*/ 1252 w 1770"/>
                    <a:gd name="T71" fmla="*/ 1467 h 1820"/>
                    <a:gd name="T72" fmla="*/ 1160 w 1770"/>
                    <a:gd name="T73" fmla="*/ 1520 h 1820"/>
                    <a:gd name="T74" fmla="*/ 1061 w 1770"/>
                    <a:gd name="T75" fmla="*/ 1557 h 1820"/>
                    <a:gd name="T76" fmla="*/ 1009 w 1770"/>
                    <a:gd name="T77" fmla="*/ 1820 h 1820"/>
                    <a:gd name="T78" fmla="*/ 761 w 1770"/>
                    <a:gd name="T79" fmla="*/ 1570 h 1820"/>
                    <a:gd name="T80" fmla="*/ 658 w 1770"/>
                    <a:gd name="T81" fmla="*/ 1540 h 1820"/>
                    <a:gd name="T82" fmla="*/ 563 w 1770"/>
                    <a:gd name="T83" fmla="*/ 1495 h 1820"/>
                    <a:gd name="T84" fmla="*/ 347 w 1770"/>
                    <a:gd name="T85" fmla="*/ 1643 h 1820"/>
                    <a:gd name="T86" fmla="*/ 344 w 1770"/>
                    <a:gd name="T87" fmla="*/ 1287 h 1820"/>
                    <a:gd name="T88" fmla="*/ 291 w 1770"/>
                    <a:gd name="T89" fmla="*/ 1193 h 1820"/>
                    <a:gd name="T90" fmla="*/ 256 w 1770"/>
                    <a:gd name="T91" fmla="*/ 1091 h 1820"/>
                    <a:gd name="T92" fmla="*/ 0 w 1770"/>
                    <a:gd name="T93" fmla="*/ 1038 h 1820"/>
                    <a:gd name="T94" fmla="*/ 243 w 1770"/>
                    <a:gd name="T95" fmla="*/ 782 h 1820"/>
                    <a:gd name="T96" fmla="*/ 272 w 1770"/>
                    <a:gd name="T97" fmla="*/ 676 h 1820"/>
                    <a:gd name="T98" fmla="*/ 316 w 1770"/>
                    <a:gd name="T99" fmla="*/ 579 h 1820"/>
                    <a:gd name="T100" fmla="*/ 172 w 1770"/>
                    <a:gd name="T101" fmla="*/ 356 h 1820"/>
                    <a:gd name="T102" fmla="*/ 518 w 1770"/>
                    <a:gd name="T103" fmla="*/ 353 h 1820"/>
                    <a:gd name="T104" fmla="*/ 609 w 1770"/>
                    <a:gd name="T105" fmla="*/ 300 h 1820"/>
                    <a:gd name="T106" fmla="*/ 708 w 1770"/>
                    <a:gd name="T107" fmla="*/ 262 h 1820"/>
                    <a:gd name="T108" fmla="*/ 761 w 1770"/>
                    <a:gd name="T109" fmla="*/ 0 h 18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70" h="1820">
                      <a:moveTo>
                        <a:pt x="885" y="632"/>
                      </a:moveTo>
                      <a:lnTo>
                        <a:pt x="845" y="634"/>
                      </a:lnTo>
                      <a:lnTo>
                        <a:pt x="807" y="643"/>
                      </a:lnTo>
                      <a:lnTo>
                        <a:pt x="771" y="657"/>
                      </a:lnTo>
                      <a:lnTo>
                        <a:pt x="737" y="676"/>
                      </a:lnTo>
                      <a:lnTo>
                        <a:pt x="707" y="699"/>
                      </a:lnTo>
                      <a:lnTo>
                        <a:pt x="681" y="727"/>
                      </a:lnTo>
                      <a:lnTo>
                        <a:pt x="658" y="758"/>
                      </a:lnTo>
                      <a:lnTo>
                        <a:pt x="639" y="792"/>
                      </a:lnTo>
                      <a:lnTo>
                        <a:pt x="626" y="829"/>
                      </a:lnTo>
                      <a:lnTo>
                        <a:pt x="617" y="868"/>
                      </a:lnTo>
                      <a:lnTo>
                        <a:pt x="615" y="909"/>
                      </a:lnTo>
                      <a:lnTo>
                        <a:pt x="617" y="951"/>
                      </a:lnTo>
                      <a:lnTo>
                        <a:pt x="626" y="990"/>
                      </a:lnTo>
                      <a:lnTo>
                        <a:pt x="639" y="1026"/>
                      </a:lnTo>
                      <a:lnTo>
                        <a:pt x="658" y="1061"/>
                      </a:lnTo>
                      <a:lnTo>
                        <a:pt x="681" y="1092"/>
                      </a:lnTo>
                      <a:lnTo>
                        <a:pt x="707" y="1119"/>
                      </a:lnTo>
                      <a:lnTo>
                        <a:pt x="737" y="1143"/>
                      </a:lnTo>
                      <a:lnTo>
                        <a:pt x="771" y="1162"/>
                      </a:lnTo>
                      <a:lnTo>
                        <a:pt x="807" y="1175"/>
                      </a:lnTo>
                      <a:lnTo>
                        <a:pt x="845" y="1185"/>
                      </a:lnTo>
                      <a:lnTo>
                        <a:pt x="885" y="1187"/>
                      </a:lnTo>
                      <a:lnTo>
                        <a:pt x="925" y="1185"/>
                      </a:lnTo>
                      <a:lnTo>
                        <a:pt x="963" y="1175"/>
                      </a:lnTo>
                      <a:lnTo>
                        <a:pt x="998" y="1162"/>
                      </a:lnTo>
                      <a:lnTo>
                        <a:pt x="1032" y="1143"/>
                      </a:lnTo>
                      <a:lnTo>
                        <a:pt x="1062" y="1119"/>
                      </a:lnTo>
                      <a:lnTo>
                        <a:pt x="1089" y="1093"/>
                      </a:lnTo>
                      <a:lnTo>
                        <a:pt x="1111" y="1062"/>
                      </a:lnTo>
                      <a:lnTo>
                        <a:pt x="1130" y="1027"/>
                      </a:lnTo>
                      <a:lnTo>
                        <a:pt x="1143" y="990"/>
                      </a:lnTo>
                      <a:lnTo>
                        <a:pt x="1152" y="951"/>
                      </a:lnTo>
                      <a:lnTo>
                        <a:pt x="1155" y="909"/>
                      </a:lnTo>
                      <a:lnTo>
                        <a:pt x="1152" y="868"/>
                      </a:lnTo>
                      <a:lnTo>
                        <a:pt x="1143" y="829"/>
                      </a:lnTo>
                      <a:lnTo>
                        <a:pt x="1130" y="792"/>
                      </a:lnTo>
                      <a:lnTo>
                        <a:pt x="1111" y="758"/>
                      </a:lnTo>
                      <a:lnTo>
                        <a:pt x="1089" y="727"/>
                      </a:lnTo>
                      <a:lnTo>
                        <a:pt x="1062" y="699"/>
                      </a:lnTo>
                      <a:lnTo>
                        <a:pt x="1032" y="676"/>
                      </a:lnTo>
                      <a:lnTo>
                        <a:pt x="998" y="657"/>
                      </a:lnTo>
                      <a:lnTo>
                        <a:pt x="963" y="643"/>
                      </a:lnTo>
                      <a:lnTo>
                        <a:pt x="925" y="634"/>
                      </a:lnTo>
                      <a:lnTo>
                        <a:pt x="885" y="632"/>
                      </a:lnTo>
                      <a:close/>
                      <a:moveTo>
                        <a:pt x="761" y="0"/>
                      </a:moveTo>
                      <a:lnTo>
                        <a:pt x="1009" y="0"/>
                      </a:lnTo>
                      <a:lnTo>
                        <a:pt x="1009" y="250"/>
                      </a:lnTo>
                      <a:lnTo>
                        <a:pt x="1061" y="262"/>
                      </a:lnTo>
                      <a:lnTo>
                        <a:pt x="1112" y="280"/>
                      </a:lnTo>
                      <a:lnTo>
                        <a:pt x="1160" y="300"/>
                      </a:lnTo>
                      <a:lnTo>
                        <a:pt x="1207" y="324"/>
                      </a:lnTo>
                      <a:lnTo>
                        <a:pt x="1252" y="353"/>
                      </a:lnTo>
                      <a:lnTo>
                        <a:pt x="1423" y="176"/>
                      </a:lnTo>
                      <a:lnTo>
                        <a:pt x="1599" y="355"/>
                      </a:lnTo>
                      <a:lnTo>
                        <a:pt x="1427" y="533"/>
                      </a:lnTo>
                      <a:lnTo>
                        <a:pt x="1454" y="579"/>
                      </a:lnTo>
                      <a:lnTo>
                        <a:pt x="1478" y="626"/>
                      </a:lnTo>
                      <a:lnTo>
                        <a:pt x="1498" y="676"/>
                      </a:lnTo>
                      <a:lnTo>
                        <a:pt x="1515" y="728"/>
                      </a:lnTo>
                      <a:lnTo>
                        <a:pt x="1527" y="782"/>
                      </a:lnTo>
                      <a:lnTo>
                        <a:pt x="1770" y="782"/>
                      </a:lnTo>
                      <a:lnTo>
                        <a:pt x="1770" y="1038"/>
                      </a:lnTo>
                      <a:lnTo>
                        <a:pt x="1527" y="1038"/>
                      </a:lnTo>
                      <a:lnTo>
                        <a:pt x="1515" y="1091"/>
                      </a:lnTo>
                      <a:lnTo>
                        <a:pt x="1498" y="1143"/>
                      </a:lnTo>
                      <a:lnTo>
                        <a:pt x="1478" y="1193"/>
                      </a:lnTo>
                      <a:lnTo>
                        <a:pt x="1455" y="1241"/>
                      </a:lnTo>
                      <a:lnTo>
                        <a:pt x="1427" y="1287"/>
                      </a:lnTo>
                      <a:lnTo>
                        <a:pt x="1599" y="1463"/>
                      </a:lnTo>
                      <a:lnTo>
                        <a:pt x="1423" y="1643"/>
                      </a:lnTo>
                      <a:lnTo>
                        <a:pt x="1252" y="1467"/>
                      </a:lnTo>
                      <a:lnTo>
                        <a:pt x="1207" y="1495"/>
                      </a:lnTo>
                      <a:lnTo>
                        <a:pt x="1160" y="1520"/>
                      </a:lnTo>
                      <a:lnTo>
                        <a:pt x="1112" y="1540"/>
                      </a:lnTo>
                      <a:lnTo>
                        <a:pt x="1061" y="1557"/>
                      </a:lnTo>
                      <a:lnTo>
                        <a:pt x="1009" y="1570"/>
                      </a:lnTo>
                      <a:lnTo>
                        <a:pt x="1009" y="1820"/>
                      </a:lnTo>
                      <a:lnTo>
                        <a:pt x="761" y="1820"/>
                      </a:lnTo>
                      <a:lnTo>
                        <a:pt x="761" y="1570"/>
                      </a:lnTo>
                      <a:lnTo>
                        <a:pt x="708" y="1557"/>
                      </a:lnTo>
                      <a:lnTo>
                        <a:pt x="658" y="1540"/>
                      </a:lnTo>
                      <a:lnTo>
                        <a:pt x="609" y="1520"/>
                      </a:lnTo>
                      <a:lnTo>
                        <a:pt x="563" y="1495"/>
                      </a:lnTo>
                      <a:lnTo>
                        <a:pt x="519" y="1467"/>
                      </a:lnTo>
                      <a:lnTo>
                        <a:pt x="347" y="1643"/>
                      </a:lnTo>
                      <a:lnTo>
                        <a:pt x="172" y="1463"/>
                      </a:lnTo>
                      <a:lnTo>
                        <a:pt x="344" y="1287"/>
                      </a:lnTo>
                      <a:lnTo>
                        <a:pt x="316" y="1241"/>
                      </a:lnTo>
                      <a:lnTo>
                        <a:pt x="291" y="1193"/>
                      </a:lnTo>
                      <a:lnTo>
                        <a:pt x="271" y="1143"/>
                      </a:lnTo>
                      <a:lnTo>
                        <a:pt x="256" y="1091"/>
                      </a:lnTo>
                      <a:lnTo>
                        <a:pt x="243" y="1038"/>
                      </a:lnTo>
                      <a:lnTo>
                        <a:pt x="0" y="1038"/>
                      </a:lnTo>
                      <a:lnTo>
                        <a:pt x="0" y="782"/>
                      </a:lnTo>
                      <a:lnTo>
                        <a:pt x="243" y="782"/>
                      </a:lnTo>
                      <a:lnTo>
                        <a:pt x="256" y="728"/>
                      </a:lnTo>
                      <a:lnTo>
                        <a:pt x="272" y="676"/>
                      </a:lnTo>
                      <a:lnTo>
                        <a:pt x="292" y="627"/>
                      </a:lnTo>
                      <a:lnTo>
                        <a:pt x="316" y="579"/>
                      </a:lnTo>
                      <a:lnTo>
                        <a:pt x="344" y="533"/>
                      </a:lnTo>
                      <a:lnTo>
                        <a:pt x="172" y="356"/>
                      </a:lnTo>
                      <a:lnTo>
                        <a:pt x="347" y="176"/>
                      </a:lnTo>
                      <a:lnTo>
                        <a:pt x="518" y="353"/>
                      </a:lnTo>
                      <a:lnTo>
                        <a:pt x="562" y="324"/>
                      </a:lnTo>
                      <a:lnTo>
                        <a:pt x="609" y="300"/>
                      </a:lnTo>
                      <a:lnTo>
                        <a:pt x="658" y="280"/>
                      </a:lnTo>
                      <a:lnTo>
                        <a:pt x="708" y="262"/>
                      </a:lnTo>
                      <a:lnTo>
                        <a:pt x="761" y="250"/>
                      </a:lnTo>
                      <a:lnTo>
                        <a:pt x="7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30" name="Freeform 88"/>
              <p:cNvSpPr>
                <a:spLocks/>
              </p:cNvSpPr>
              <p:nvPr/>
            </p:nvSpPr>
            <p:spPr bwMode="auto">
              <a:xfrm>
                <a:off x="4028362" y="5204311"/>
                <a:ext cx="790132" cy="535441"/>
              </a:xfrm>
              <a:custGeom>
                <a:avLst/>
                <a:gdLst>
                  <a:gd name="T0" fmla="*/ 3895 w 6125"/>
                  <a:gd name="T1" fmla="*/ 17 h 4150"/>
                  <a:gd name="T2" fmla="*/ 4222 w 6125"/>
                  <a:gd name="T3" fmla="*/ 97 h 4150"/>
                  <a:gd name="T4" fmla="*/ 4499 w 6125"/>
                  <a:gd name="T5" fmla="*/ 240 h 4150"/>
                  <a:gd name="T6" fmla="*/ 4729 w 6125"/>
                  <a:gd name="T7" fmla="*/ 433 h 4150"/>
                  <a:gd name="T8" fmla="*/ 4909 w 6125"/>
                  <a:gd name="T9" fmla="*/ 667 h 4150"/>
                  <a:gd name="T10" fmla="*/ 5041 w 6125"/>
                  <a:gd name="T11" fmla="*/ 936 h 4150"/>
                  <a:gd name="T12" fmla="*/ 5127 w 6125"/>
                  <a:gd name="T13" fmla="*/ 1232 h 4150"/>
                  <a:gd name="T14" fmla="*/ 5166 w 6125"/>
                  <a:gd name="T15" fmla="*/ 1542 h 4150"/>
                  <a:gd name="T16" fmla="*/ 5162 w 6125"/>
                  <a:gd name="T17" fmla="*/ 1752 h 4150"/>
                  <a:gd name="T18" fmla="*/ 5474 w 6125"/>
                  <a:gd name="T19" fmla="*/ 1863 h 4150"/>
                  <a:gd name="T20" fmla="*/ 5738 w 6125"/>
                  <a:gd name="T21" fmla="*/ 2051 h 4150"/>
                  <a:gd name="T22" fmla="*/ 5944 w 6125"/>
                  <a:gd name="T23" fmla="*/ 2300 h 4150"/>
                  <a:gd name="T24" fmla="*/ 6078 w 6125"/>
                  <a:gd name="T25" fmla="*/ 2601 h 4150"/>
                  <a:gd name="T26" fmla="*/ 6125 w 6125"/>
                  <a:gd name="T27" fmla="*/ 2937 h 4150"/>
                  <a:gd name="T28" fmla="*/ 6076 w 6125"/>
                  <a:gd name="T29" fmla="*/ 3277 h 4150"/>
                  <a:gd name="T30" fmla="*/ 5941 w 6125"/>
                  <a:gd name="T31" fmla="*/ 3580 h 4150"/>
                  <a:gd name="T32" fmla="*/ 5732 w 6125"/>
                  <a:gd name="T33" fmla="*/ 3832 h 4150"/>
                  <a:gd name="T34" fmla="*/ 5465 w 6125"/>
                  <a:gd name="T35" fmla="*/ 4020 h 4150"/>
                  <a:gd name="T36" fmla="*/ 5151 w 6125"/>
                  <a:gd name="T37" fmla="*/ 4128 h 4150"/>
                  <a:gd name="T38" fmla="*/ 1202 w 6125"/>
                  <a:gd name="T39" fmla="*/ 4150 h 4150"/>
                  <a:gd name="T40" fmla="*/ 864 w 6125"/>
                  <a:gd name="T41" fmla="*/ 4102 h 4150"/>
                  <a:gd name="T42" fmla="*/ 565 w 6125"/>
                  <a:gd name="T43" fmla="*/ 3964 h 4150"/>
                  <a:gd name="T44" fmla="*/ 314 w 6125"/>
                  <a:gd name="T45" fmla="*/ 3754 h 4150"/>
                  <a:gd name="T46" fmla="*/ 130 w 6125"/>
                  <a:gd name="T47" fmla="*/ 3485 h 4150"/>
                  <a:gd name="T48" fmla="*/ 22 w 6125"/>
                  <a:gd name="T49" fmla="*/ 3167 h 4150"/>
                  <a:gd name="T50" fmla="*/ 6 w 6125"/>
                  <a:gd name="T51" fmla="*/ 2818 h 4150"/>
                  <a:gd name="T52" fmla="*/ 87 w 6125"/>
                  <a:gd name="T53" fmla="*/ 2484 h 4150"/>
                  <a:gd name="T54" fmla="*/ 256 w 6125"/>
                  <a:gd name="T55" fmla="*/ 2192 h 4150"/>
                  <a:gd name="T56" fmla="*/ 496 w 6125"/>
                  <a:gd name="T57" fmla="*/ 1960 h 4150"/>
                  <a:gd name="T58" fmla="*/ 792 w 6125"/>
                  <a:gd name="T59" fmla="*/ 1800 h 4150"/>
                  <a:gd name="T60" fmla="*/ 1005 w 6125"/>
                  <a:gd name="T61" fmla="*/ 1678 h 4150"/>
                  <a:gd name="T62" fmla="*/ 1022 w 6125"/>
                  <a:gd name="T63" fmla="*/ 1436 h 4150"/>
                  <a:gd name="T64" fmla="*/ 1120 w 6125"/>
                  <a:gd name="T65" fmla="*/ 1200 h 4150"/>
                  <a:gd name="T66" fmla="*/ 1288 w 6125"/>
                  <a:gd name="T67" fmla="*/ 1013 h 4150"/>
                  <a:gd name="T68" fmla="*/ 1507 w 6125"/>
                  <a:gd name="T69" fmla="*/ 890 h 4150"/>
                  <a:gd name="T70" fmla="*/ 1763 w 6125"/>
                  <a:gd name="T71" fmla="*/ 845 h 4150"/>
                  <a:gd name="T72" fmla="*/ 2031 w 6125"/>
                  <a:gd name="T73" fmla="*/ 894 h 4150"/>
                  <a:gd name="T74" fmla="*/ 2256 w 6125"/>
                  <a:gd name="T75" fmla="*/ 1026 h 4150"/>
                  <a:gd name="T76" fmla="*/ 2362 w 6125"/>
                  <a:gd name="T77" fmla="*/ 801 h 4150"/>
                  <a:gd name="T78" fmla="*/ 2486 w 6125"/>
                  <a:gd name="T79" fmla="*/ 589 h 4150"/>
                  <a:gd name="T80" fmla="*/ 2635 w 6125"/>
                  <a:gd name="T81" fmla="*/ 398 h 4150"/>
                  <a:gd name="T82" fmla="*/ 2817 w 6125"/>
                  <a:gd name="T83" fmla="*/ 234 h 4150"/>
                  <a:gd name="T84" fmla="*/ 3040 w 6125"/>
                  <a:gd name="T85" fmla="*/ 110 h 4150"/>
                  <a:gd name="T86" fmla="*/ 3315 w 6125"/>
                  <a:gd name="T87" fmla="*/ 28 h 4150"/>
                  <a:gd name="T88" fmla="*/ 3648 w 6125"/>
                  <a:gd name="T89" fmla="*/ 0 h 4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125" h="4150">
                    <a:moveTo>
                      <a:pt x="3648" y="0"/>
                    </a:moveTo>
                    <a:lnTo>
                      <a:pt x="3774" y="4"/>
                    </a:lnTo>
                    <a:lnTo>
                      <a:pt x="3895" y="17"/>
                    </a:lnTo>
                    <a:lnTo>
                      <a:pt x="4008" y="35"/>
                    </a:lnTo>
                    <a:lnTo>
                      <a:pt x="4118" y="63"/>
                    </a:lnTo>
                    <a:lnTo>
                      <a:pt x="4222" y="97"/>
                    </a:lnTo>
                    <a:lnTo>
                      <a:pt x="4320" y="138"/>
                    </a:lnTo>
                    <a:lnTo>
                      <a:pt x="4413" y="186"/>
                    </a:lnTo>
                    <a:lnTo>
                      <a:pt x="4499" y="240"/>
                    </a:lnTo>
                    <a:lnTo>
                      <a:pt x="4580" y="297"/>
                    </a:lnTo>
                    <a:lnTo>
                      <a:pt x="4658" y="362"/>
                    </a:lnTo>
                    <a:lnTo>
                      <a:pt x="4729" y="433"/>
                    </a:lnTo>
                    <a:lnTo>
                      <a:pt x="4794" y="507"/>
                    </a:lnTo>
                    <a:lnTo>
                      <a:pt x="4854" y="585"/>
                    </a:lnTo>
                    <a:lnTo>
                      <a:pt x="4909" y="667"/>
                    </a:lnTo>
                    <a:lnTo>
                      <a:pt x="4958" y="754"/>
                    </a:lnTo>
                    <a:lnTo>
                      <a:pt x="5002" y="844"/>
                    </a:lnTo>
                    <a:lnTo>
                      <a:pt x="5041" y="936"/>
                    </a:lnTo>
                    <a:lnTo>
                      <a:pt x="5075" y="1033"/>
                    </a:lnTo>
                    <a:lnTo>
                      <a:pt x="5103" y="1131"/>
                    </a:lnTo>
                    <a:lnTo>
                      <a:pt x="5127" y="1232"/>
                    </a:lnTo>
                    <a:lnTo>
                      <a:pt x="5145" y="1334"/>
                    </a:lnTo>
                    <a:lnTo>
                      <a:pt x="5156" y="1438"/>
                    </a:lnTo>
                    <a:lnTo>
                      <a:pt x="5166" y="1542"/>
                    </a:lnTo>
                    <a:lnTo>
                      <a:pt x="5168" y="1648"/>
                    </a:lnTo>
                    <a:lnTo>
                      <a:pt x="5166" y="1700"/>
                    </a:lnTo>
                    <a:lnTo>
                      <a:pt x="5162" y="1752"/>
                    </a:lnTo>
                    <a:lnTo>
                      <a:pt x="5270" y="1780"/>
                    </a:lnTo>
                    <a:lnTo>
                      <a:pt x="5374" y="1817"/>
                    </a:lnTo>
                    <a:lnTo>
                      <a:pt x="5474" y="1863"/>
                    </a:lnTo>
                    <a:lnTo>
                      <a:pt x="5567" y="1917"/>
                    </a:lnTo>
                    <a:lnTo>
                      <a:pt x="5656" y="1980"/>
                    </a:lnTo>
                    <a:lnTo>
                      <a:pt x="5738" y="2051"/>
                    </a:lnTo>
                    <a:lnTo>
                      <a:pt x="5814" y="2127"/>
                    </a:lnTo>
                    <a:lnTo>
                      <a:pt x="5883" y="2211"/>
                    </a:lnTo>
                    <a:lnTo>
                      <a:pt x="5944" y="2300"/>
                    </a:lnTo>
                    <a:lnTo>
                      <a:pt x="5996" y="2397"/>
                    </a:lnTo>
                    <a:lnTo>
                      <a:pt x="6041" y="2497"/>
                    </a:lnTo>
                    <a:lnTo>
                      <a:pt x="6078" y="2601"/>
                    </a:lnTo>
                    <a:lnTo>
                      <a:pt x="6102" y="2710"/>
                    </a:lnTo>
                    <a:lnTo>
                      <a:pt x="6119" y="2822"/>
                    </a:lnTo>
                    <a:lnTo>
                      <a:pt x="6125" y="2937"/>
                    </a:lnTo>
                    <a:lnTo>
                      <a:pt x="6119" y="3054"/>
                    </a:lnTo>
                    <a:lnTo>
                      <a:pt x="6102" y="3167"/>
                    </a:lnTo>
                    <a:lnTo>
                      <a:pt x="6076" y="3277"/>
                    </a:lnTo>
                    <a:lnTo>
                      <a:pt x="6041" y="3383"/>
                    </a:lnTo>
                    <a:lnTo>
                      <a:pt x="5994" y="3485"/>
                    </a:lnTo>
                    <a:lnTo>
                      <a:pt x="5941" y="3580"/>
                    </a:lnTo>
                    <a:lnTo>
                      <a:pt x="5879" y="3671"/>
                    </a:lnTo>
                    <a:lnTo>
                      <a:pt x="5811" y="3754"/>
                    </a:lnTo>
                    <a:lnTo>
                      <a:pt x="5732" y="3832"/>
                    </a:lnTo>
                    <a:lnTo>
                      <a:pt x="5649" y="3903"/>
                    </a:lnTo>
                    <a:lnTo>
                      <a:pt x="5560" y="3964"/>
                    </a:lnTo>
                    <a:lnTo>
                      <a:pt x="5465" y="4020"/>
                    </a:lnTo>
                    <a:lnTo>
                      <a:pt x="5365" y="4065"/>
                    </a:lnTo>
                    <a:lnTo>
                      <a:pt x="5261" y="4102"/>
                    </a:lnTo>
                    <a:lnTo>
                      <a:pt x="5151" y="4128"/>
                    </a:lnTo>
                    <a:lnTo>
                      <a:pt x="5038" y="4145"/>
                    </a:lnTo>
                    <a:lnTo>
                      <a:pt x="4922" y="4150"/>
                    </a:lnTo>
                    <a:lnTo>
                      <a:pt x="1202" y="4150"/>
                    </a:lnTo>
                    <a:lnTo>
                      <a:pt x="1087" y="4145"/>
                    </a:lnTo>
                    <a:lnTo>
                      <a:pt x="974" y="4128"/>
                    </a:lnTo>
                    <a:lnTo>
                      <a:pt x="864" y="4102"/>
                    </a:lnTo>
                    <a:lnTo>
                      <a:pt x="760" y="4065"/>
                    </a:lnTo>
                    <a:lnTo>
                      <a:pt x="660" y="4020"/>
                    </a:lnTo>
                    <a:lnTo>
                      <a:pt x="565" y="3964"/>
                    </a:lnTo>
                    <a:lnTo>
                      <a:pt x="476" y="3903"/>
                    </a:lnTo>
                    <a:lnTo>
                      <a:pt x="392" y="3832"/>
                    </a:lnTo>
                    <a:lnTo>
                      <a:pt x="314" y="3754"/>
                    </a:lnTo>
                    <a:lnTo>
                      <a:pt x="245" y="3671"/>
                    </a:lnTo>
                    <a:lnTo>
                      <a:pt x="184" y="3580"/>
                    </a:lnTo>
                    <a:lnTo>
                      <a:pt x="130" y="3485"/>
                    </a:lnTo>
                    <a:lnTo>
                      <a:pt x="84" y="3383"/>
                    </a:lnTo>
                    <a:lnTo>
                      <a:pt x="48" y="3277"/>
                    </a:lnTo>
                    <a:lnTo>
                      <a:pt x="22" y="3167"/>
                    </a:lnTo>
                    <a:lnTo>
                      <a:pt x="6" y="3054"/>
                    </a:lnTo>
                    <a:lnTo>
                      <a:pt x="0" y="2937"/>
                    </a:lnTo>
                    <a:lnTo>
                      <a:pt x="6" y="2818"/>
                    </a:lnTo>
                    <a:lnTo>
                      <a:pt x="22" y="2703"/>
                    </a:lnTo>
                    <a:lnTo>
                      <a:pt x="50" y="2592"/>
                    </a:lnTo>
                    <a:lnTo>
                      <a:pt x="87" y="2484"/>
                    </a:lnTo>
                    <a:lnTo>
                      <a:pt x="136" y="2382"/>
                    </a:lnTo>
                    <a:lnTo>
                      <a:pt x="191" y="2283"/>
                    </a:lnTo>
                    <a:lnTo>
                      <a:pt x="256" y="2192"/>
                    </a:lnTo>
                    <a:lnTo>
                      <a:pt x="329" y="2107"/>
                    </a:lnTo>
                    <a:lnTo>
                      <a:pt x="409" y="2029"/>
                    </a:lnTo>
                    <a:lnTo>
                      <a:pt x="496" y="1960"/>
                    </a:lnTo>
                    <a:lnTo>
                      <a:pt x="589" y="1897"/>
                    </a:lnTo>
                    <a:lnTo>
                      <a:pt x="688" y="1845"/>
                    </a:lnTo>
                    <a:lnTo>
                      <a:pt x="792" y="1800"/>
                    </a:lnTo>
                    <a:lnTo>
                      <a:pt x="899" y="1767"/>
                    </a:lnTo>
                    <a:lnTo>
                      <a:pt x="1013" y="1743"/>
                    </a:lnTo>
                    <a:lnTo>
                      <a:pt x="1005" y="1678"/>
                    </a:lnTo>
                    <a:lnTo>
                      <a:pt x="1002" y="1611"/>
                    </a:lnTo>
                    <a:lnTo>
                      <a:pt x="1007" y="1522"/>
                    </a:lnTo>
                    <a:lnTo>
                      <a:pt x="1022" y="1436"/>
                    </a:lnTo>
                    <a:lnTo>
                      <a:pt x="1046" y="1353"/>
                    </a:lnTo>
                    <a:lnTo>
                      <a:pt x="1080" y="1274"/>
                    </a:lnTo>
                    <a:lnTo>
                      <a:pt x="1120" y="1200"/>
                    </a:lnTo>
                    <a:lnTo>
                      <a:pt x="1169" y="1131"/>
                    </a:lnTo>
                    <a:lnTo>
                      <a:pt x="1225" y="1068"/>
                    </a:lnTo>
                    <a:lnTo>
                      <a:pt x="1288" y="1013"/>
                    </a:lnTo>
                    <a:lnTo>
                      <a:pt x="1355" y="964"/>
                    </a:lnTo>
                    <a:lnTo>
                      <a:pt x="1429" y="923"/>
                    </a:lnTo>
                    <a:lnTo>
                      <a:pt x="1507" y="890"/>
                    </a:lnTo>
                    <a:lnTo>
                      <a:pt x="1589" y="866"/>
                    </a:lnTo>
                    <a:lnTo>
                      <a:pt x="1674" y="851"/>
                    </a:lnTo>
                    <a:lnTo>
                      <a:pt x="1763" y="845"/>
                    </a:lnTo>
                    <a:lnTo>
                      <a:pt x="1856" y="851"/>
                    </a:lnTo>
                    <a:lnTo>
                      <a:pt x="1946" y="868"/>
                    </a:lnTo>
                    <a:lnTo>
                      <a:pt x="2031" y="894"/>
                    </a:lnTo>
                    <a:lnTo>
                      <a:pt x="2111" y="929"/>
                    </a:lnTo>
                    <a:lnTo>
                      <a:pt x="2185" y="974"/>
                    </a:lnTo>
                    <a:lnTo>
                      <a:pt x="2256" y="1026"/>
                    </a:lnTo>
                    <a:lnTo>
                      <a:pt x="2289" y="949"/>
                    </a:lnTo>
                    <a:lnTo>
                      <a:pt x="2325" y="875"/>
                    </a:lnTo>
                    <a:lnTo>
                      <a:pt x="2362" y="801"/>
                    </a:lnTo>
                    <a:lnTo>
                      <a:pt x="2401" y="728"/>
                    </a:lnTo>
                    <a:lnTo>
                      <a:pt x="2444" y="658"/>
                    </a:lnTo>
                    <a:lnTo>
                      <a:pt x="2486" y="589"/>
                    </a:lnTo>
                    <a:lnTo>
                      <a:pt x="2533" y="522"/>
                    </a:lnTo>
                    <a:lnTo>
                      <a:pt x="2583" y="457"/>
                    </a:lnTo>
                    <a:lnTo>
                      <a:pt x="2635" y="398"/>
                    </a:lnTo>
                    <a:lnTo>
                      <a:pt x="2691" y="340"/>
                    </a:lnTo>
                    <a:lnTo>
                      <a:pt x="2752" y="286"/>
                    </a:lnTo>
                    <a:lnTo>
                      <a:pt x="2817" y="234"/>
                    </a:lnTo>
                    <a:lnTo>
                      <a:pt x="2886" y="188"/>
                    </a:lnTo>
                    <a:lnTo>
                      <a:pt x="2960" y="147"/>
                    </a:lnTo>
                    <a:lnTo>
                      <a:pt x="3040" y="110"/>
                    </a:lnTo>
                    <a:lnTo>
                      <a:pt x="3125" y="76"/>
                    </a:lnTo>
                    <a:lnTo>
                      <a:pt x="3217" y="50"/>
                    </a:lnTo>
                    <a:lnTo>
                      <a:pt x="3315" y="28"/>
                    </a:lnTo>
                    <a:lnTo>
                      <a:pt x="3419" y="13"/>
                    </a:lnTo>
                    <a:lnTo>
                      <a:pt x="3531" y="4"/>
                    </a:lnTo>
                    <a:lnTo>
                      <a:pt x="364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88"/>
              <p:cNvSpPr>
                <a:spLocks/>
              </p:cNvSpPr>
              <p:nvPr/>
            </p:nvSpPr>
            <p:spPr bwMode="auto">
              <a:xfrm>
                <a:off x="4510770" y="2932648"/>
                <a:ext cx="732523" cy="496402"/>
              </a:xfrm>
              <a:custGeom>
                <a:avLst/>
                <a:gdLst>
                  <a:gd name="T0" fmla="*/ 3895 w 6125"/>
                  <a:gd name="T1" fmla="*/ 17 h 4150"/>
                  <a:gd name="T2" fmla="*/ 4222 w 6125"/>
                  <a:gd name="T3" fmla="*/ 97 h 4150"/>
                  <a:gd name="T4" fmla="*/ 4499 w 6125"/>
                  <a:gd name="T5" fmla="*/ 240 h 4150"/>
                  <a:gd name="T6" fmla="*/ 4729 w 6125"/>
                  <a:gd name="T7" fmla="*/ 433 h 4150"/>
                  <a:gd name="T8" fmla="*/ 4909 w 6125"/>
                  <a:gd name="T9" fmla="*/ 667 h 4150"/>
                  <a:gd name="T10" fmla="*/ 5041 w 6125"/>
                  <a:gd name="T11" fmla="*/ 936 h 4150"/>
                  <a:gd name="T12" fmla="*/ 5127 w 6125"/>
                  <a:gd name="T13" fmla="*/ 1232 h 4150"/>
                  <a:gd name="T14" fmla="*/ 5166 w 6125"/>
                  <a:gd name="T15" fmla="*/ 1542 h 4150"/>
                  <a:gd name="T16" fmla="*/ 5162 w 6125"/>
                  <a:gd name="T17" fmla="*/ 1752 h 4150"/>
                  <a:gd name="T18" fmla="*/ 5474 w 6125"/>
                  <a:gd name="T19" fmla="*/ 1863 h 4150"/>
                  <a:gd name="T20" fmla="*/ 5738 w 6125"/>
                  <a:gd name="T21" fmla="*/ 2051 h 4150"/>
                  <a:gd name="T22" fmla="*/ 5944 w 6125"/>
                  <a:gd name="T23" fmla="*/ 2300 h 4150"/>
                  <a:gd name="T24" fmla="*/ 6078 w 6125"/>
                  <a:gd name="T25" fmla="*/ 2601 h 4150"/>
                  <a:gd name="T26" fmla="*/ 6125 w 6125"/>
                  <a:gd name="T27" fmla="*/ 2937 h 4150"/>
                  <a:gd name="T28" fmla="*/ 6076 w 6125"/>
                  <a:gd name="T29" fmla="*/ 3277 h 4150"/>
                  <a:gd name="T30" fmla="*/ 5941 w 6125"/>
                  <a:gd name="T31" fmla="*/ 3580 h 4150"/>
                  <a:gd name="T32" fmla="*/ 5732 w 6125"/>
                  <a:gd name="T33" fmla="*/ 3832 h 4150"/>
                  <a:gd name="T34" fmla="*/ 5465 w 6125"/>
                  <a:gd name="T35" fmla="*/ 4020 h 4150"/>
                  <a:gd name="T36" fmla="*/ 5151 w 6125"/>
                  <a:gd name="T37" fmla="*/ 4128 h 4150"/>
                  <a:gd name="T38" fmla="*/ 1202 w 6125"/>
                  <a:gd name="T39" fmla="*/ 4150 h 4150"/>
                  <a:gd name="T40" fmla="*/ 864 w 6125"/>
                  <a:gd name="T41" fmla="*/ 4102 h 4150"/>
                  <a:gd name="T42" fmla="*/ 565 w 6125"/>
                  <a:gd name="T43" fmla="*/ 3964 h 4150"/>
                  <a:gd name="T44" fmla="*/ 314 w 6125"/>
                  <a:gd name="T45" fmla="*/ 3754 h 4150"/>
                  <a:gd name="T46" fmla="*/ 130 w 6125"/>
                  <a:gd name="T47" fmla="*/ 3485 h 4150"/>
                  <a:gd name="T48" fmla="*/ 22 w 6125"/>
                  <a:gd name="T49" fmla="*/ 3167 h 4150"/>
                  <a:gd name="T50" fmla="*/ 6 w 6125"/>
                  <a:gd name="T51" fmla="*/ 2818 h 4150"/>
                  <a:gd name="T52" fmla="*/ 87 w 6125"/>
                  <a:gd name="T53" fmla="*/ 2484 h 4150"/>
                  <a:gd name="T54" fmla="*/ 256 w 6125"/>
                  <a:gd name="T55" fmla="*/ 2192 h 4150"/>
                  <a:gd name="T56" fmla="*/ 496 w 6125"/>
                  <a:gd name="T57" fmla="*/ 1960 h 4150"/>
                  <a:gd name="T58" fmla="*/ 792 w 6125"/>
                  <a:gd name="T59" fmla="*/ 1800 h 4150"/>
                  <a:gd name="T60" fmla="*/ 1005 w 6125"/>
                  <a:gd name="T61" fmla="*/ 1678 h 4150"/>
                  <a:gd name="T62" fmla="*/ 1022 w 6125"/>
                  <a:gd name="T63" fmla="*/ 1436 h 4150"/>
                  <a:gd name="T64" fmla="*/ 1120 w 6125"/>
                  <a:gd name="T65" fmla="*/ 1200 h 4150"/>
                  <a:gd name="T66" fmla="*/ 1288 w 6125"/>
                  <a:gd name="T67" fmla="*/ 1013 h 4150"/>
                  <a:gd name="T68" fmla="*/ 1507 w 6125"/>
                  <a:gd name="T69" fmla="*/ 890 h 4150"/>
                  <a:gd name="T70" fmla="*/ 1763 w 6125"/>
                  <a:gd name="T71" fmla="*/ 845 h 4150"/>
                  <a:gd name="T72" fmla="*/ 2031 w 6125"/>
                  <a:gd name="T73" fmla="*/ 894 h 4150"/>
                  <a:gd name="T74" fmla="*/ 2256 w 6125"/>
                  <a:gd name="T75" fmla="*/ 1026 h 4150"/>
                  <a:gd name="T76" fmla="*/ 2362 w 6125"/>
                  <a:gd name="T77" fmla="*/ 801 h 4150"/>
                  <a:gd name="T78" fmla="*/ 2486 w 6125"/>
                  <a:gd name="T79" fmla="*/ 589 h 4150"/>
                  <a:gd name="T80" fmla="*/ 2635 w 6125"/>
                  <a:gd name="T81" fmla="*/ 398 h 4150"/>
                  <a:gd name="T82" fmla="*/ 2817 w 6125"/>
                  <a:gd name="T83" fmla="*/ 234 h 4150"/>
                  <a:gd name="T84" fmla="*/ 3040 w 6125"/>
                  <a:gd name="T85" fmla="*/ 110 h 4150"/>
                  <a:gd name="T86" fmla="*/ 3315 w 6125"/>
                  <a:gd name="T87" fmla="*/ 28 h 4150"/>
                  <a:gd name="T88" fmla="*/ 3648 w 6125"/>
                  <a:gd name="T89" fmla="*/ 0 h 4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125" h="4150">
                    <a:moveTo>
                      <a:pt x="3648" y="0"/>
                    </a:moveTo>
                    <a:lnTo>
                      <a:pt x="3774" y="4"/>
                    </a:lnTo>
                    <a:lnTo>
                      <a:pt x="3895" y="17"/>
                    </a:lnTo>
                    <a:lnTo>
                      <a:pt x="4008" y="35"/>
                    </a:lnTo>
                    <a:lnTo>
                      <a:pt x="4118" y="63"/>
                    </a:lnTo>
                    <a:lnTo>
                      <a:pt x="4222" y="97"/>
                    </a:lnTo>
                    <a:lnTo>
                      <a:pt x="4320" y="138"/>
                    </a:lnTo>
                    <a:lnTo>
                      <a:pt x="4413" y="186"/>
                    </a:lnTo>
                    <a:lnTo>
                      <a:pt x="4499" y="240"/>
                    </a:lnTo>
                    <a:lnTo>
                      <a:pt x="4580" y="297"/>
                    </a:lnTo>
                    <a:lnTo>
                      <a:pt x="4658" y="362"/>
                    </a:lnTo>
                    <a:lnTo>
                      <a:pt x="4729" y="433"/>
                    </a:lnTo>
                    <a:lnTo>
                      <a:pt x="4794" y="507"/>
                    </a:lnTo>
                    <a:lnTo>
                      <a:pt x="4854" y="585"/>
                    </a:lnTo>
                    <a:lnTo>
                      <a:pt x="4909" y="667"/>
                    </a:lnTo>
                    <a:lnTo>
                      <a:pt x="4958" y="754"/>
                    </a:lnTo>
                    <a:lnTo>
                      <a:pt x="5002" y="844"/>
                    </a:lnTo>
                    <a:lnTo>
                      <a:pt x="5041" y="936"/>
                    </a:lnTo>
                    <a:lnTo>
                      <a:pt x="5075" y="1033"/>
                    </a:lnTo>
                    <a:lnTo>
                      <a:pt x="5103" y="1131"/>
                    </a:lnTo>
                    <a:lnTo>
                      <a:pt x="5127" y="1232"/>
                    </a:lnTo>
                    <a:lnTo>
                      <a:pt x="5145" y="1334"/>
                    </a:lnTo>
                    <a:lnTo>
                      <a:pt x="5156" y="1438"/>
                    </a:lnTo>
                    <a:lnTo>
                      <a:pt x="5166" y="1542"/>
                    </a:lnTo>
                    <a:lnTo>
                      <a:pt x="5168" y="1648"/>
                    </a:lnTo>
                    <a:lnTo>
                      <a:pt x="5166" y="1700"/>
                    </a:lnTo>
                    <a:lnTo>
                      <a:pt x="5162" y="1752"/>
                    </a:lnTo>
                    <a:lnTo>
                      <a:pt x="5270" y="1780"/>
                    </a:lnTo>
                    <a:lnTo>
                      <a:pt x="5374" y="1817"/>
                    </a:lnTo>
                    <a:lnTo>
                      <a:pt x="5474" y="1863"/>
                    </a:lnTo>
                    <a:lnTo>
                      <a:pt x="5567" y="1917"/>
                    </a:lnTo>
                    <a:lnTo>
                      <a:pt x="5656" y="1980"/>
                    </a:lnTo>
                    <a:lnTo>
                      <a:pt x="5738" y="2051"/>
                    </a:lnTo>
                    <a:lnTo>
                      <a:pt x="5814" y="2127"/>
                    </a:lnTo>
                    <a:lnTo>
                      <a:pt x="5883" y="2211"/>
                    </a:lnTo>
                    <a:lnTo>
                      <a:pt x="5944" y="2300"/>
                    </a:lnTo>
                    <a:lnTo>
                      <a:pt x="5996" y="2397"/>
                    </a:lnTo>
                    <a:lnTo>
                      <a:pt x="6041" y="2497"/>
                    </a:lnTo>
                    <a:lnTo>
                      <a:pt x="6078" y="2601"/>
                    </a:lnTo>
                    <a:lnTo>
                      <a:pt x="6102" y="2710"/>
                    </a:lnTo>
                    <a:lnTo>
                      <a:pt x="6119" y="2822"/>
                    </a:lnTo>
                    <a:lnTo>
                      <a:pt x="6125" y="2937"/>
                    </a:lnTo>
                    <a:lnTo>
                      <a:pt x="6119" y="3054"/>
                    </a:lnTo>
                    <a:lnTo>
                      <a:pt x="6102" y="3167"/>
                    </a:lnTo>
                    <a:lnTo>
                      <a:pt x="6076" y="3277"/>
                    </a:lnTo>
                    <a:lnTo>
                      <a:pt x="6041" y="3383"/>
                    </a:lnTo>
                    <a:lnTo>
                      <a:pt x="5994" y="3485"/>
                    </a:lnTo>
                    <a:lnTo>
                      <a:pt x="5941" y="3580"/>
                    </a:lnTo>
                    <a:lnTo>
                      <a:pt x="5879" y="3671"/>
                    </a:lnTo>
                    <a:lnTo>
                      <a:pt x="5811" y="3754"/>
                    </a:lnTo>
                    <a:lnTo>
                      <a:pt x="5732" y="3832"/>
                    </a:lnTo>
                    <a:lnTo>
                      <a:pt x="5649" y="3903"/>
                    </a:lnTo>
                    <a:lnTo>
                      <a:pt x="5560" y="3964"/>
                    </a:lnTo>
                    <a:lnTo>
                      <a:pt x="5465" y="4020"/>
                    </a:lnTo>
                    <a:lnTo>
                      <a:pt x="5365" y="4065"/>
                    </a:lnTo>
                    <a:lnTo>
                      <a:pt x="5261" y="4102"/>
                    </a:lnTo>
                    <a:lnTo>
                      <a:pt x="5151" y="4128"/>
                    </a:lnTo>
                    <a:lnTo>
                      <a:pt x="5038" y="4145"/>
                    </a:lnTo>
                    <a:lnTo>
                      <a:pt x="4922" y="4150"/>
                    </a:lnTo>
                    <a:lnTo>
                      <a:pt x="1202" y="4150"/>
                    </a:lnTo>
                    <a:lnTo>
                      <a:pt x="1087" y="4145"/>
                    </a:lnTo>
                    <a:lnTo>
                      <a:pt x="974" y="4128"/>
                    </a:lnTo>
                    <a:lnTo>
                      <a:pt x="864" y="4102"/>
                    </a:lnTo>
                    <a:lnTo>
                      <a:pt x="760" y="4065"/>
                    </a:lnTo>
                    <a:lnTo>
                      <a:pt x="660" y="4020"/>
                    </a:lnTo>
                    <a:lnTo>
                      <a:pt x="565" y="3964"/>
                    </a:lnTo>
                    <a:lnTo>
                      <a:pt x="476" y="3903"/>
                    </a:lnTo>
                    <a:lnTo>
                      <a:pt x="392" y="3832"/>
                    </a:lnTo>
                    <a:lnTo>
                      <a:pt x="314" y="3754"/>
                    </a:lnTo>
                    <a:lnTo>
                      <a:pt x="245" y="3671"/>
                    </a:lnTo>
                    <a:lnTo>
                      <a:pt x="184" y="3580"/>
                    </a:lnTo>
                    <a:lnTo>
                      <a:pt x="130" y="3485"/>
                    </a:lnTo>
                    <a:lnTo>
                      <a:pt x="84" y="3383"/>
                    </a:lnTo>
                    <a:lnTo>
                      <a:pt x="48" y="3277"/>
                    </a:lnTo>
                    <a:lnTo>
                      <a:pt x="22" y="3167"/>
                    </a:lnTo>
                    <a:lnTo>
                      <a:pt x="6" y="3054"/>
                    </a:lnTo>
                    <a:lnTo>
                      <a:pt x="0" y="2937"/>
                    </a:lnTo>
                    <a:lnTo>
                      <a:pt x="6" y="2818"/>
                    </a:lnTo>
                    <a:lnTo>
                      <a:pt x="22" y="2703"/>
                    </a:lnTo>
                    <a:lnTo>
                      <a:pt x="50" y="2592"/>
                    </a:lnTo>
                    <a:lnTo>
                      <a:pt x="87" y="2484"/>
                    </a:lnTo>
                    <a:lnTo>
                      <a:pt x="136" y="2382"/>
                    </a:lnTo>
                    <a:lnTo>
                      <a:pt x="191" y="2283"/>
                    </a:lnTo>
                    <a:lnTo>
                      <a:pt x="256" y="2192"/>
                    </a:lnTo>
                    <a:lnTo>
                      <a:pt x="329" y="2107"/>
                    </a:lnTo>
                    <a:lnTo>
                      <a:pt x="409" y="2029"/>
                    </a:lnTo>
                    <a:lnTo>
                      <a:pt x="496" y="1960"/>
                    </a:lnTo>
                    <a:lnTo>
                      <a:pt x="589" y="1897"/>
                    </a:lnTo>
                    <a:lnTo>
                      <a:pt x="688" y="1845"/>
                    </a:lnTo>
                    <a:lnTo>
                      <a:pt x="792" y="1800"/>
                    </a:lnTo>
                    <a:lnTo>
                      <a:pt x="899" y="1767"/>
                    </a:lnTo>
                    <a:lnTo>
                      <a:pt x="1013" y="1743"/>
                    </a:lnTo>
                    <a:lnTo>
                      <a:pt x="1005" y="1678"/>
                    </a:lnTo>
                    <a:lnTo>
                      <a:pt x="1002" y="1611"/>
                    </a:lnTo>
                    <a:lnTo>
                      <a:pt x="1007" y="1522"/>
                    </a:lnTo>
                    <a:lnTo>
                      <a:pt x="1022" y="1436"/>
                    </a:lnTo>
                    <a:lnTo>
                      <a:pt x="1046" y="1353"/>
                    </a:lnTo>
                    <a:lnTo>
                      <a:pt x="1080" y="1274"/>
                    </a:lnTo>
                    <a:lnTo>
                      <a:pt x="1120" y="1200"/>
                    </a:lnTo>
                    <a:lnTo>
                      <a:pt x="1169" y="1131"/>
                    </a:lnTo>
                    <a:lnTo>
                      <a:pt x="1225" y="1068"/>
                    </a:lnTo>
                    <a:lnTo>
                      <a:pt x="1288" y="1013"/>
                    </a:lnTo>
                    <a:lnTo>
                      <a:pt x="1355" y="964"/>
                    </a:lnTo>
                    <a:lnTo>
                      <a:pt x="1429" y="923"/>
                    </a:lnTo>
                    <a:lnTo>
                      <a:pt x="1507" y="890"/>
                    </a:lnTo>
                    <a:lnTo>
                      <a:pt x="1589" y="866"/>
                    </a:lnTo>
                    <a:lnTo>
                      <a:pt x="1674" y="851"/>
                    </a:lnTo>
                    <a:lnTo>
                      <a:pt x="1763" y="845"/>
                    </a:lnTo>
                    <a:lnTo>
                      <a:pt x="1856" y="851"/>
                    </a:lnTo>
                    <a:lnTo>
                      <a:pt x="1946" y="868"/>
                    </a:lnTo>
                    <a:lnTo>
                      <a:pt x="2031" y="894"/>
                    </a:lnTo>
                    <a:lnTo>
                      <a:pt x="2111" y="929"/>
                    </a:lnTo>
                    <a:lnTo>
                      <a:pt x="2185" y="974"/>
                    </a:lnTo>
                    <a:lnTo>
                      <a:pt x="2256" y="1026"/>
                    </a:lnTo>
                    <a:lnTo>
                      <a:pt x="2289" y="949"/>
                    </a:lnTo>
                    <a:lnTo>
                      <a:pt x="2325" y="875"/>
                    </a:lnTo>
                    <a:lnTo>
                      <a:pt x="2362" y="801"/>
                    </a:lnTo>
                    <a:lnTo>
                      <a:pt x="2401" y="728"/>
                    </a:lnTo>
                    <a:lnTo>
                      <a:pt x="2444" y="658"/>
                    </a:lnTo>
                    <a:lnTo>
                      <a:pt x="2486" y="589"/>
                    </a:lnTo>
                    <a:lnTo>
                      <a:pt x="2533" y="522"/>
                    </a:lnTo>
                    <a:lnTo>
                      <a:pt x="2583" y="457"/>
                    </a:lnTo>
                    <a:lnTo>
                      <a:pt x="2635" y="398"/>
                    </a:lnTo>
                    <a:lnTo>
                      <a:pt x="2691" y="340"/>
                    </a:lnTo>
                    <a:lnTo>
                      <a:pt x="2752" y="286"/>
                    </a:lnTo>
                    <a:lnTo>
                      <a:pt x="2817" y="234"/>
                    </a:lnTo>
                    <a:lnTo>
                      <a:pt x="2886" y="188"/>
                    </a:lnTo>
                    <a:lnTo>
                      <a:pt x="2960" y="147"/>
                    </a:lnTo>
                    <a:lnTo>
                      <a:pt x="3040" y="110"/>
                    </a:lnTo>
                    <a:lnTo>
                      <a:pt x="3125" y="76"/>
                    </a:lnTo>
                    <a:lnTo>
                      <a:pt x="3217" y="50"/>
                    </a:lnTo>
                    <a:lnTo>
                      <a:pt x="3315" y="28"/>
                    </a:lnTo>
                    <a:lnTo>
                      <a:pt x="3419" y="13"/>
                    </a:lnTo>
                    <a:lnTo>
                      <a:pt x="3531" y="4"/>
                    </a:lnTo>
                    <a:lnTo>
                      <a:pt x="364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33" name="Group 51"/>
              <p:cNvGrpSpPr>
                <a:grpSpLocks noChangeAspect="1"/>
              </p:cNvGrpSpPr>
              <p:nvPr/>
            </p:nvGrpSpPr>
            <p:grpSpPr bwMode="auto">
              <a:xfrm>
                <a:off x="5210941" y="4072272"/>
                <a:ext cx="311842" cy="311651"/>
                <a:chOff x="1238" y="519"/>
                <a:chExt cx="3280" cy="3278"/>
              </a:xfrm>
              <a:solidFill>
                <a:schemeClr val="bg1"/>
              </a:solidFill>
            </p:grpSpPr>
            <p:sp>
              <p:nvSpPr>
                <p:cNvPr id="134" name="Freeform 53"/>
                <p:cNvSpPr>
                  <a:spLocks/>
                </p:cNvSpPr>
                <p:nvPr/>
              </p:nvSpPr>
              <p:spPr bwMode="auto">
                <a:xfrm>
                  <a:off x="1238" y="1134"/>
                  <a:ext cx="2870" cy="1844"/>
                </a:xfrm>
                <a:custGeom>
                  <a:avLst/>
                  <a:gdLst>
                    <a:gd name="T0" fmla="*/ 0 w 5740"/>
                    <a:gd name="T1" fmla="*/ 0 h 3688"/>
                    <a:gd name="T2" fmla="*/ 1159 w 5740"/>
                    <a:gd name="T3" fmla="*/ 0 h 3688"/>
                    <a:gd name="T4" fmla="*/ 2595 w 5740"/>
                    <a:gd name="T5" fmla="*/ 3277 h 3688"/>
                    <a:gd name="T6" fmla="*/ 5740 w 5740"/>
                    <a:gd name="T7" fmla="*/ 3277 h 3688"/>
                    <a:gd name="T8" fmla="*/ 5740 w 5740"/>
                    <a:gd name="T9" fmla="*/ 3688 h 3688"/>
                    <a:gd name="T10" fmla="*/ 2326 w 5740"/>
                    <a:gd name="T11" fmla="*/ 3688 h 3688"/>
                    <a:gd name="T12" fmla="*/ 892 w 5740"/>
                    <a:gd name="T13" fmla="*/ 408 h 3688"/>
                    <a:gd name="T14" fmla="*/ 0 w 5740"/>
                    <a:gd name="T15" fmla="*/ 408 h 3688"/>
                    <a:gd name="T16" fmla="*/ 0 w 5740"/>
                    <a:gd name="T17" fmla="*/ 0 h 3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40" h="3688">
                      <a:moveTo>
                        <a:pt x="0" y="0"/>
                      </a:moveTo>
                      <a:lnTo>
                        <a:pt x="1159" y="0"/>
                      </a:lnTo>
                      <a:lnTo>
                        <a:pt x="2595" y="3277"/>
                      </a:lnTo>
                      <a:lnTo>
                        <a:pt x="5740" y="3277"/>
                      </a:lnTo>
                      <a:lnTo>
                        <a:pt x="5740" y="3688"/>
                      </a:lnTo>
                      <a:lnTo>
                        <a:pt x="2326" y="3688"/>
                      </a:lnTo>
                      <a:lnTo>
                        <a:pt x="892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5" name="Freeform 54"/>
                <p:cNvSpPr>
                  <a:spLocks/>
                </p:cNvSpPr>
                <p:nvPr/>
              </p:nvSpPr>
              <p:spPr bwMode="auto">
                <a:xfrm>
                  <a:off x="2468" y="3182"/>
                  <a:ext cx="615" cy="615"/>
                </a:xfrm>
                <a:custGeom>
                  <a:avLst/>
                  <a:gdLst>
                    <a:gd name="T0" fmla="*/ 617 w 1231"/>
                    <a:gd name="T1" fmla="*/ 0 h 1230"/>
                    <a:gd name="T2" fmla="*/ 698 w 1231"/>
                    <a:gd name="T3" fmla="*/ 6 h 1230"/>
                    <a:gd name="T4" fmla="*/ 780 w 1231"/>
                    <a:gd name="T5" fmla="*/ 22 h 1230"/>
                    <a:gd name="T6" fmla="*/ 856 w 1231"/>
                    <a:gd name="T7" fmla="*/ 50 h 1230"/>
                    <a:gd name="T8" fmla="*/ 926 w 1231"/>
                    <a:gd name="T9" fmla="*/ 84 h 1230"/>
                    <a:gd name="T10" fmla="*/ 992 w 1231"/>
                    <a:gd name="T11" fmla="*/ 130 h 1230"/>
                    <a:gd name="T12" fmla="*/ 1051 w 1231"/>
                    <a:gd name="T13" fmla="*/ 182 h 1230"/>
                    <a:gd name="T14" fmla="*/ 1103 w 1231"/>
                    <a:gd name="T15" fmla="*/ 239 h 1230"/>
                    <a:gd name="T16" fmla="*/ 1147 w 1231"/>
                    <a:gd name="T17" fmla="*/ 305 h 1230"/>
                    <a:gd name="T18" fmla="*/ 1183 w 1231"/>
                    <a:gd name="T19" fmla="*/ 377 h 1230"/>
                    <a:gd name="T20" fmla="*/ 1209 w 1231"/>
                    <a:gd name="T21" fmla="*/ 453 h 1230"/>
                    <a:gd name="T22" fmla="*/ 1225 w 1231"/>
                    <a:gd name="T23" fmla="*/ 532 h 1230"/>
                    <a:gd name="T24" fmla="*/ 1231 w 1231"/>
                    <a:gd name="T25" fmla="*/ 616 h 1230"/>
                    <a:gd name="T26" fmla="*/ 1225 w 1231"/>
                    <a:gd name="T27" fmla="*/ 698 h 1230"/>
                    <a:gd name="T28" fmla="*/ 1209 w 1231"/>
                    <a:gd name="T29" fmla="*/ 780 h 1230"/>
                    <a:gd name="T30" fmla="*/ 1183 w 1231"/>
                    <a:gd name="T31" fmla="*/ 855 h 1230"/>
                    <a:gd name="T32" fmla="*/ 1147 w 1231"/>
                    <a:gd name="T33" fmla="*/ 925 h 1230"/>
                    <a:gd name="T34" fmla="*/ 1103 w 1231"/>
                    <a:gd name="T35" fmla="*/ 991 h 1230"/>
                    <a:gd name="T36" fmla="*/ 1051 w 1231"/>
                    <a:gd name="T37" fmla="*/ 1051 h 1230"/>
                    <a:gd name="T38" fmla="*/ 992 w 1231"/>
                    <a:gd name="T39" fmla="*/ 1102 h 1230"/>
                    <a:gd name="T40" fmla="*/ 926 w 1231"/>
                    <a:gd name="T41" fmla="*/ 1146 h 1230"/>
                    <a:gd name="T42" fmla="*/ 856 w 1231"/>
                    <a:gd name="T43" fmla="*/ 1182 h 1230"/>
                    <a:gd name="T44" fmla="*/ 780 w 1231"/>
                    <a:gd name="T45" fmla="*/ 1208 h 1230"/>
                    <a:gd name="T46" fmla="*/ 698 w 1231"/>
                    <a:gd name="T47" fmla="*/ 1224 h 1230"/>
                    <a:gd name="T48" fmla="*/ 617 w 1231"/>
                    <a:gd name="T49" fmla="*/ 1230 h 1230"/>
                    <a:gd name="T50" fmla="*/ 533 w 1231"/>
                    <a:gd name="T51" fmla="*/ 1224 h 1230"/>
                    <a:gd name="T52" fmla="*/ 453 w 1231"/>
                    <a:gd name="T53" fmla="*/ 1208 h 1230"/>
                    <a:gd name="T54" fmla="*/ 377 w 1231"/>
                    <a:gd name="T55" fmla="*/ 1182 h 1230"/>
                    <a:gd name="T56" fmla="*/ 305 w 1231"/>
                    <a:gd name="T57" fmla="*/ 1146 h 1230"/>
                    <a:gd name="T58" fmla="*/ 240 w 1231"/>
                    <a:gd name="T59" fmla="*/ 1102 h 1230"/>
                    <a:gd name="T60" fmla="*/ 182 w 1231"/>
                    <a:gd name="T61" fmla="*/ 1051 h 1230"/>
                    <a:gd name="T62" fmla="*/ 130 w 1231"/>
                    <a:gd name="T63" fmla="*/ 991 h 1230"/>
                    <a:gd name="T64" fmla="*/ 84 w 1231"/>
                    <a:gd name="T65" fmla="*/ 925 h 1230"/>
                    <a:gd name="T66" fmla="*/ 50 w 1231"/>
                    <a:gd name="T67" fmla="*/ 855 h 1230"/>
                    <a:gd name="T68" fmla="*/ 22 w 1231"/>
                    <a:gd name="T69" fmla="*/ 780 h 1230"/>
                    <a:gd name="T70" fmla="*/ 6 w 1231"/>
                    <a:gd name="T71" fmla="*/ 698 h 1230"/>
                    <a:gd name="T72" fmla="*/ 0 w 1231"/>
                    <a:gd name="T73" fmla="*/ 616 h 1230"/>
                    <a:gd name="T74" fmla="*/ 6 w 1231"/>
                    <a:gd name="T75" fmla="*/ 532 h 1230"/>
                    <a:gd name="T76" fmla="*/ 22 w 1231"/>
                    <a:gd name="T77" fmla="*/ 453 h 1230"/>
                    <a:gd name="T78" fmla="*/ 50 w 1231"/>
                    <a:gd name="T79" fmla="*/ 377 h 1230"/>
                    <a:gd name="T80" fmla="*/ 84 w 1231"/>
                    <a:gd name="T81" fmla="*/ 305 h 1230"/>
                    <a:gd name="T82" fmla="*/ 130 w 1231"/>
                    <a:gd name="T83" fmla="*/ 239 h 1230"/>
                    <a:gd name="T84" fmla="*/ 182 w 1231"/>
                    <a:gd name="T85" fmla="*/ 182 h 1230"/>
                    <a:gd name="T86" fmla="*/ 240 w 1231"/>
                    <a:gd name="T87" fmla="*/ 130 h 1230"/>
                    <a:gd name="T88" fmla="*/ 305 w 1231"/>
                    <a:gd name="T89" fmla="*/ 84 h 1230"/>
                    <a:gd name="T90" fmla="*/ 377 w 1231"/>
                    <a:gd name="T91" fmla="*/ 50 h 1230"/>
                    <a:gd name="T92" fmla="*/ 453 w 1231"/>
                    <a:gd name="T93" fmla="*/ 22 h 1230"/>
                    <a:gd name="T94" fmla="*/ 533 w 1231"/>
                    <a:gd name="T95" fmla="*/ 6 h 1230"/>
                    <a:gd name="T96" fmla="*/ 617 w 1231"/>
                    <a:gd name="T97" fmla="*/ 0 h 1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31" h="1230">
                      <a:moveTo>
                        <a:pt x="617" y="0"/>
                      </a:moveTo>
                      <a:lnTo>
                        <a:pt x="698" y="6"/>
                      </a:lnTo>
                      <a:lnTo>
                        <a:pt x="780" y="22"/>
                      </a:lnTo>
                      <a:lnTo>
                        <a:pt x="856" y="50"/>
                      </a:lnTo>
                      <a:lnTo>
                        <a:pt x="926" y="84"/>
                      </a:lnTo>
                      <a:lnTo>
                        <a:pt x="992" y="130"/>
                      </a:lnTo>
                      <a:lnTo>
                        <a:pt x="1051" y="182"/>
                      </a:lnTo>
                      <a:lnTo>
                        <a:pt x="1103" y="239"/>
                      </a:lnTo>
                      <a:lnTo>
                        <a:pt x="1147" y="305"/>
                      </a:lnTo>
                      <a:lnTo>
                        <a:pt x="1183" y="377"/>
                      </a:lnTo>
                      <a:lnTo>
                        <a:pt x="1209" y="453"/>
                      </a:lnTo>
                      <a:lnTo>
                        <a:pt x="1225" y="532"/>
                      </a:lnTo>
                      <a:lnTo>
                        <a:pt x="1231" y="616"/>
                      </a:lnTo>
                      <a:lnTo>
                        <a:pt x="1225" y="698"/>
                      </a:lnTo>
                      <a:lnTo>
                        <a:pt x="1209" y="780"/>
                      </a:lnTo>
                      <a:lnTo>
                        <a:pt x="1183" y="855"/>
                      </a:lnTo>
                      <a:lnTo>
                        <a:pt x="1147" y="925"/>
                      </a:lnTo>
                      <a:lnTo>
                        <a:pt x="1103" y="991"/>
                      </a:lnTo>
                      <a:lnTo>
                        <a:pt x="1051" y="1051"/>
                      </a:lnTo>
                      <a:lnTo>
                        <a:pt x="992" y="1102"/>
                      </a:lnTo>
                      <a:lnTo>
                        <a:pt x="926" y="1146"/>
                      </a:lnTo>
                      <a:lnTo>
                        <a:pt x="856" y="1182"/>
                      </a:lnTo>
                      <a:lnTo>
                        <a:pt x="780" y="1208"/>
                      </a:lnTo>
                      <a:lnTo>
                        <a:pt x="698" y="1224"/>
                      </a:lnTo>
                      <a:lnTo>
                        <a:pt x="617" y="1230"/>
                      </a:lnTo>
                      <a:lnTo>
                        <a:pt x="533" y="1224"/>
                      </a:lnTo>
                      <a:lnTo>
                        <a:pt x="453" y="1208"/>
                      </a:lnTo>
                      <a:lnTo>
                        <a:pt x="377" y="1182"/>
                      </a:lnTo>
                      <a:lnTo>
                        <a:pt x="305" y="1146"/>
                      </a:lnTo>
                      <a:lnTo>
                        <a:pt x="240" y="1102"/>
                      </a:lnTo>
                      <a:lnTo>
                        <a:pt x="182" y="1051"/>
                      </a:lnTo>
                      <a:lnTo>
                        <a:pt x="130" y="991"/>
                      </a:lnTo>
                      <a:lnTo>
                        <a:pt x="84" y="925"/>
                      </a:lnTo>
                      <a:lnTo>
                        <a:pt x="50" y="855"/>
                      </a:lnTo>
                      <a:lnTo>
                        <a:pt x="22" y="780"/>
                      </a:lnTo>
                      <a:lnTo>
                        <a:pt x="6" y="698"/>
                      </a:lnTo>
                      <a:lnTo>
                        <a:pt x="0" y="616"/>
                      </a:lnTo>
                      <a:lnTo>
                        <a:pt x="6" y="532"/>
                      </a:lnTo>
                      <a:lnTo>
                        <a:pt x="22" y="453"/>
                      </a:lnTo>
                      <a:lnTo>
                        <a:pt x="50" y="377"/>
                      </a:lnTo>
                      <a:lnTo>
                        <a:pt x="84" y="305"/>
                      </a:lnTo>
                      <a:lnTo>
                        <a:pt x="130" y="239"/>
                      </a:lnTo>
                      <a:lnTo>
                        <a:pt x="182" y="182"/>
                      </a:lnTo>
                      <a:lnTo>
                        <a:pt x="240" y="130"/>
                      </a:lnTo>
                      <a:lnTo>
                        <a:pt x="305" y="84"/>
                      </a:lnTo>
                      <a:lnTo>
                        <a:pt x="377" y="50"/>
                      </a:lnTo>
                      <a:lnTo>
                        <a:pt x="453" y="22"/>
                      </a:lnTo>
                      <a:lnTo>
                        <a:pt x="533" y="6"/>
                      </a:lnTo>
                      <a:lnTo>
                        <a:pt x="61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55"/>
                <p:cNvSpPr>
                  <a:spLocks/>
                </p:cNvSpPr>
                <p:nvPr/>
              </p:nvSpPr>
              <p:spPr bwMode="auto">
                <a:xfrm>
                  <a:off x="3493" y="3182"/>
                  <a:ext cx="615" cy="615"/>
                </a:xfrm>
                <a:custGeom>
                  <a:avLst/>
                  <a:gdLst>
                    <a:gd name="T0" fmla="*/ 614 w 1230"/>
                    <a:gd name="T1" fmla="*/ 0 h 1230"/>
                    <a:gd name="T2" fmla="*/ 698 w 1230"/>
                    <a:gd name="T3" fmla="*/ 6 h 1230"/>
                    <a:gd name="T4" fmla="*/ 778 w 1230"/>
                    <a:gd name="T5" fmla="*/ 22 h 1230"/>
                    <a:gd name="T6" fmla="*/ 853 w 1230"/>
                    <a:gd name="T7" fmla="*/ 50 h 1230"/>
                    <a:gd name="T8" fmla="*/ 925 w 1230"/>
                    <a:gd name="T9" fmla="*/ 84 h 1230"/>
                    <a:gd name="T10" fmla="*/ 991 w 1230"/>
                    <a:gd name="T11" fmla="*/ 130 h 1230"/>
                    <a:gd name="T12" fmla="*/ 1049 w 1230"/>
                    <a:gd name="T13" fmla="*/ 182 h 1230"/>
                    <a:gd name="T14" fmla="*/ 1101 w 1230"/>
                    <a:gd name="T15" fmla="*/ 239 h 1230"/>
                    <a:gd name="T16" fmla="*/ 1146 w 1230"/>
                    <a:gd name="T17" fmla="*/ 305 h 1230"/>
                    <a:gd name="T18" fmla="*/ 1180 w 1230"/>
                    <a:gd name="T19" fmla="*/ 377 h 1230"/>
                    <a:gd name="T20" fmla="*/ 1208 w 1230"/>
                    <a:gd name="T21" fmla="*/ 453 h 1230"/>
                    <a:gd name="T22" fmla="*/ 1224 w 1230"/>
                    <a:gd name="T23" fmla="*/ 532 h 1230"/>
                    <a:gd name="T24" fmla="*/ 1230 w 1230"/>
                    <a:gd name="T25" fmla="*/ 616 h 1230"/>
                    <a:gd name="T26" fmla="*/ 1224 w 1230"/>
                    <a:gd name="T27" fmla="*/ 698 h 1230"/>
                    <a:gd name="T28" fmla="*/ 1208 w 1230"/>
                    <a:gd name="T29" fmla="*/ 780 h 1230"/>
                    <a:gd name="T30" fmla="*/ 1180 w 1230"/>
                    <a:gd name="T31" fmla="*/ 855 h 1230"/>
                    <a:gd name="T32" fmla="*/ 1146 w 1230"/>
                    <a:gd name="T33" fmla="*/ 925 h 1230"/>
                    <a:gd name="T34" fmla="*/ 1101 w 1230"/>
                    <a:gd name="T35" fmla="*/ 991 h 1230"/>
                    <a:gd name="T36" fmla="*/ 1049 w 1230"/>
                    <a:gd name="T37" fmla="*/ 1051 h 1230"/>
                    <a:gd name="T38" fmla="*/ 991 w 1230"/>
                    <a:gd name="T39" fmla="*/ 1102 h 1230"/>
                    <a:gd name="T40" fmla="*/ 925 w 1230"/>
                    <a:gd name="T41" fmla="*/ 1146 h 1230"/>
                    <a:gd name="T42" fmla="*/ 853 w 1230"/>
                    <a:gd name="T43" fmla="*/ 1182 h 1230"/>
                    <a:gd name="T44" fmla="*/ 778 w 1230"/>
                    <a:gd name="T45" fmla="*/ 1208 h 1230"/>
                    <a:gd name="T46" fmla="*/ 698 w 1230"/>
                    <a:gd name="T47" fmla="*/ 1224 h 1230"/>
                    <a:gd name="T48" fmla="*/ 614 w 1230"/>
                    <a:gd name="T49" fmla="*/ 1230 h 1230"/>
                    <a:gd name="T50" fmla="*/ 532 w 1230"/>
                    <a:gd name="T51" fmla="*/ 1224 h 1230"/>
                    <a:gd name="T52" fmla="*/ 450 w 1230"/>
                    <a:gd name="T53" fmla="*/ 1208 h 1230"/>
                    <a:gd name="T54" fmla="*/ 375 w 1230"/>
                    <a:gd name="T55" fmla="*/ 1182 h 1230"/>
                    <a:gd name="T56" fmla="*/ 305 w 1230"/>
                    <a:gd name="T57" fmla="*/ 1146 h 1230"/>
                    <a:gd name="T58" fmla="*/ 239 w 1230"/>
                    <a:gd name="T59" fmla="*/ 1102 h 1230"/>
                    <a:gd name="T60" fmla="*/ 179 w 1230"/>
                    <a:gd name="T61" fmla="*/ 1051 h 1230"/>
                    <a:gd name="T62" fmla="*/ 127 w 1230"/>
                    <a:gd name="T63" fmla="*/ 991 h 1230"/>
                    <a:gd name="T64" fmla="*/ 83 w 1230"/>
                    <a:gd name="T65" fmla="*/ 925 h 1230"/>
                    <a:gd name="T66" fmla="*/ 48 w 1230"/>
                    <a:gd name="T67" fmla="*/ 855 h 1230"/>
                    <a:gd name="T68" fmla="*/ 22 w 1230"/>
                    <a:gd name="T69" fmla="*/ 780 h 1230"/>
                    <a:gd name="T70" fmla="*/ 6 w 1230"/>
                    <a:gd name="T71" fmla="*/ 698 h 1230"/>
                    <a:gd name="T72" fmla="*/ 0 w 1230"/>
                    <a:gd name="T73" fmla="*/ 616 h 1230"/>
                    <a:gd name="T74" fmla="*/ 6 w 1230"/>
                    <a:gd name="T75" fmla="*/ 532 h 1230"/>
                    <a:gd name="T76" fmla="*/ 22 w 1230"/>
                    <a:gd name="T77" fmla="*/ 453 h 1230"/>
                    <a:gd name="T78" fmla="*/ 48 w 1230"/>
                    <a:gd name="T79" fmla="*/ 377 h 1230"/>
                    <a:gd name="T80" fmla="*/ 83 w 1230"/>
                    <a:gd name="T81" fmla="*/ 305 h 1230"/>
                    <a:gd name="T82" fmla="*/ 127 w 1230"/>
                    <a:gd name="T83" fmla="*/ 239 h 1230"/>
                    <a:gd name="T84" fmla="*/ 179 w 1230"/>
                    <a:gd name="T85" fmla="*/ 182 h 1230"/>
                    <a:gd name="T86" fmla="*/ 239 w 1230"/>
                    <a:gd name="T87" fmla="*/ 130 h 1230"/>
                    <a:gd name="T88" fmla="*/ 305 w 1230"/>
                    <a:gd name="T89" fmla="*/ 84 h 1230"/>
                    <a:gd name="T90" fmla="*/ 375 w 1230"/>
                    <a:gd name="T91" fmla="*/ 50 h 1230"/>
                    <a:gd name="T92" fmla="*/ 450 w 1230"/>
                    <a:gd name="T93" fmla="*/ 22 h 1230"/>
                    <a:gd name="T94" fmla="*/ 532 w 1230"/>
                    <a:gd name="T95" fmla="*/ 6 h 1230"/>
                    <a:gd name="T96" fmla="*/ 614 w 1230"/>
                    <a:gd name="T97" fmla="*/ 0 h 1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30" h="1230">
                      <a:moveTo>
                        <a:pt x="614" y="0"/>
                      </a:moveTo>
                      <a:lnTo>
                        <a:pt x="698" y="6"/>
                      </a:lnTo>
                      <a:lnTo>
                        <a:pt x="778" y="22"/>
                      </a:lnTo>
                      <a:lnTo>
                        <a:pt x="853" y="50"/>
                      </a:lnTo>
                      <a:lnTo>
                        <a:pt x="925" y="84"/>
                      </a:lnTo>
                      <a:lnTo>
                        <a:pt x="991" y="130"/>
                      </a:lnTo>
                      <a:lnTo>
                        <a:pt x="1049" y="182"/>
                      </a:lnTo>
                      <a:lnTo>
                        <a:pt x="1101" y="239"/>
                      </a:lnTo>
                      <a:lnTo>
                        <a:pt x="1146" y="305"/>
                      </a:lnTo>
                      <a:lnTo>
                        <a:pt x="1180" y="377"/>
                      </a:lnTo>
                      <a:lnTo>
                        <a:pt x="1208" y="453"/>
                      </a:lnTo>
                      <a:lnTo>
                        <a:pt x="1224" y="532"/>
                      </a:lnTo>
                      <a:lnTo>
                        <a:pt x="1230" y="616"/>
                      </a:lnTo>
                      <a:lnTo>
                        <a:pt x="1224" y="698"/>
                      </a:lnTo>
                      <a:lnTo>
                        <a:pt x="1208" y="780"/>
                      </a:lnTo>
                      <a:lnTo>
                        <a:pt x="1180" y="855"/>
                      </a:lnTo>
                      <a:lnTo>
                        <a:pt x="1146" y="925"/>
                      </a:lnTo>
                      <a:lnTo>
                        <a:pt x="1101" y="991"/>
                      </a:lnTo>
                      <a:lnTo>
                        <a:pt x="1049" y="1051"/>
                      </a:lnTo>
                      <a:lnTo>
                        <a:pt x="991" y="1102"/>
                      </a:lnTo>
                      <a:lnTo>
                        <a:pt x="925" y="1146"/>
                      </a:lnTo>
                      <a:lnTo>
                        <a:pt x="853" y="1182"/>
                      </a:lnTo>
                      <a:lnTo>
                        <a:pt x="778" y="1208"/>
                      </a:lnTo>
                      <a:lnTo>
                        <a:pt x="698" y="1224"/>
                      </a:lnTo>
                      <a:lnTo>
                        <a:pt x="614" y="1230"/>
                      </a:lnTo>
                      <a:lnTo>
                        <a:pt x="532" y="1224"/>
                      </a:lnTo>
                      <a:lnTo>
                        <a:pt x="450" y="1208"/>
                      </a:lnTo>
                      <a:lnTo>
                        <a:pt x="375" y="1182"/>
                      </a:lnTo>
                      <a:lnTo>
                        <a:pt x="305" y="1146"/>
                      </a:lnTo>
                      <a:lnTo>
                        <a:pt x="239" y="1102"/>
                      </a:lnTo>
                      <a:lnTo>
                        <a:pt x="179" y="1051"/>
                      </a:lnTo>
                      <a:lnTo>
                        <a:pt x="127" y="991"/>
                      </a:lnTo>
                      <a:lnTo>
                        <a:pt x="83" y="925"/>
                      </a:lnTo>
                      <a:lnTo>
                        <a:pt x="48" y="855"/>
                      </a:lnTo>
                      <a:lnTo>
                        <a:pt x="22" y="780"/>
                      </a:lnTo>
                      <a:lnTo>
                        <a:pt x="6" y="698"/>
                      </a:lnTo>
                      <a:lnTo>
                        <a:pt x="0" y="616"/>
                      </a:lnTo>
                      <a:lnTo>
                        <a:pt x="6" y="532"/>
                      </a:lnTo>
                      <a:lnTo>
                        <a:pt x="22" y="453"/>
                      </a:lnTo>
                      <a:lnTo>
                        <a:pt x="48" y="377"/>
                      </a:lnTo>
                      <a:lnTo>
                        <a:pt x="83" y="305"/>
                      </a:lnTo>
                      <a:lnTo>
                        <a:pt x="127" y="239"/>
                      </a:lnTo>
                      <a:lnTo>
                        <a:pt x="179" y="182"/>
                      </a:lnTo>
                      <a:lnTo>
                        <a:pt x="239" y="130"/>
                      </a:lnTo>
                      <a:lnTo>
                        <a:pt x="305" y="84"/>
                      </a:lnTo>
                      <a:lnTo>
                        <a:pt x="375" y="50"/>
                      </a:lnTo>
                      <a:lnTo>
                        <a:pt x="450" y="22"/>
                      </a:lnTo>
                      <a:lnTo>
                        <a:pt x="532" y="6"/>
                      </a:lnTo>
                      <a:lnTo>
                        <a:pt x="61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56"/>
                <p:cNvSpPr>
                  <a:spLocks noEditPoints="1"/>
                </p:cNvSpPr>
                <p:nvPr/>
              </p:nvSpPr>
              <p:spPr bwMode="auto">
                <a:xfrm>
                  <a:off x="3083" y="519"/>
                  <a:ext cx="1435" cy="1434"/>
                </a:xfrm>
                <a:custGeom>
                  <a:avLst/>
                  <a:gdLst>
                    <a:gd name="T0" fmla="*/ 1231 w 2870"/>
                    <a:gd name="T1" fmla="*/ 1230 h 2868"/>
                    <a:gd name="T2" fmla="*/ 614 w 2870"/>
                    <a:gd name="T3" fmla="*/ 1638 h 2868"/>
                    <a:gd name="T4" fmla="*/ 1231 w 2870"/>
                    <a:gd name="T5" fmla="*/ 2254 h 2868"/>
                    <a:gd name="T6" fmla="*/ 1639 w 2870"/>
                    <a:gd name="T7" fmla="*/ 1638 h 2868"/>
                    <a:gd name="T8" fmla="*/ 2254 w 2870"/>
                    <a:gd name="T9" fmla="*/ 1230 h 2868"/>
                    <a:gd name="T10" fmla="*/ 1639 w 2870"/>
                    <a:gd name="T11" fmla="*/ 616 h 2868"/>
                    <a:gd name="T12" fmla="*/ 1434 w 2870"/>
                    <a:gd name="T13" fmla="*/ 0 h 2868"/>
                    <a:gd name="T14" fmla="*/ 1693 w 2870"/>
                    <a:gd name="T15" fmla="*/ 24 h 2868"/>
                    <a:gd name="T16" fmla="*/ 1935 w 2870"/>
                    <a:gd name="T17" fmla="*/ 90 h 2868"/>
                    <a:gd name="T18" fmla="*/ 2158 w 2870"/>
                    <a:gd name="T19" fmla="*/ 195 h 2868"/>
                    <a:gd name="T20" fmla="*/ 2359 w 2870"/>
                    <a:gd name="T21" fmla="*/ 337 h 2868"/>
                    <a:gd name="T22" fmla="*/ 2533 w 2870"/>
                    <a:gd name="T23" fmla="*/ 510 h 2868"/>
                    <a:gd name="T24" fmla="*/ 2675 w 2870"/>
                    <a:gd name="T25" fmla="*/ 712 h 2868"/>
                    <a:gd name="T26" fmla="*/ 2780 w 2870"/>
                    <a:gd name="T27" fmla="*/ 935 h 2868"/>
                    <a:gd name="T28" fmla="*/ 2846 w 2870"/>
                    <a:gd name="T29" fmla="*/ 1176 h 2868"/>
                    <a:gd name="T30" fmla="*/ 2870 w 2870"/>
                    <a:gd name="T31" fmla="*/ 1435 h 2868"/>
                    <a:gd name="T32" fmla="*/ 2846 w 2870"/>
                    <a:gd name="T33" fmla="*/ 1692 h 2868"/>
                    <a:gd name="T34" fmla="*/ 2780 w 2870"/>
                    <a:gd name="T35" fmla="*/ 1936 h 2868"/>
                    <a:gd name="T36" fmla="*/ 2675 w 2870"/>
                    <a:gd name="T37" fmla="*/ 2159 h 2868"/>
                    <a:gd name="T38" fmla="*/ 2533 w 2870"/>
                    <a:gd name="T39" fmla="*/ 2358 h 2868"/>
                    <a:gd name="T40" fmla="*/ 2359 w 2870"/>
                    <a:gd name="T41" fmla="*/ 2532 h 2868"/>
                    <a:gd name="T42" fmla="*/ 2158 w 2870"/>
                    <a:gd name="T43" fmla="*/ 2673 h 2868"/>
                    <a:gd name="T44" fmla="*/ 1935 w 2870"/>
                    <a:gd name="T45" fmla="*/ 2779 h 2868"/>
                    <a:gd name="T46" fmla="*/ 1693 w 2870"/>
                    <a:gd name="T47" fmla="*/ 2844 h 2868"/>
                    <a:gd name="T48" fmla="*/ 1434 w 2870"/>
                    <a:gd name="T49" fmla="*/ 2868 h 2868"/>
                    <a:gd name="T50" fmla="*/ 1177 w 2870"/>
                    <a:gd name="T51" fmla="*/ 2844 h 2868"/>
                    <a:gd name="T52" fmla="*/ 933 w 2870"/>
                    <a:gd name="T53" fmla="*/ 2779 h 2868"/>
                    <a:gd name="T54" fmla="*/ 710 w 2870"/>
                    <a:gd name="T55" fmla="*/ 2673 h 2868"/>
                    <a:gd name="T56" fmla="*/ 510 w 2870"/>
                    <a:gd name="T57" fmla="*/ 2532 h 2868"/>
                    <a:gd name="T58" fmla="*/ 337 w 2870"/>
                    <a:gd name="T59" fmla="*/ 2358 h 2868"/>
                    <a:gd name="T60" fmla="*/ 195 w 2870"/>
                    <a:gd name="T61" fmla="*/ 2159 h 2868"/>
                    <a:gd name="T62" fmla="*/ 90 w 2870"/>
                    <a:gd name="T63" fmla="*/ 1936 h 2868"/>
                    <a:gd name="T64" fmla="*/ 24 w 2870"/>
                    <a:gd name="T65" fmla="*/ 1692 h 2868"/>
                    <a:gd name="T66" fmla="*/ 0 w 2870"/>
                    <a:gd name="T67" fmla="*/ 1435 h 2868"/>
                    <a:gd name="T68" fmla="*/ 24 w 2870"/>
                    <a:gd name="T69" fmla="*/ 1176 h 2868"/>
                    <a:gd name="T70" fmla="*/ 90 w 2870"/>
                    <a:gd name="T71" fmla="*/ 935 h 2868"/>
                    <a:gd name="T72" fmla="*/ 195 w 2870"/>
                    <a:gd name="T73" fmla="*/ 712 h 2868"/>
                    <a:gd name="T74" fmla="*/ 337 w 2870"/>
                    <a:gd name="T75" fmla="*/ 510 h 2868"/>
                    <a:gd name="T76" fmla="*/ 510 w 2870"/>
                    <a:gd name="T77" fmla="*/ 337 h 2868"/>
                    <a:gd name="T78" fmla="*/ 710 w 2870"/>
                    <a:gd name="T79" fmla="*/ 195 h 2868"/>
                    <a:gd name="T80" fmla="*/ 933 w 2870"/>
                    <a:gd name="T81" fmla="*/ 90 h 2868"/>
                    <a:gd name="T82" fmla="*/ 1177 w 2870"/>
                    <a:gd name="T83" fmla="*/ 24 h 2868"/>
                    <a:gd name="T84" fmla="*/ 1434 w 2870"/>
                    <a:gd name="T85" fmla="*/ 0 h 28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70" h="2868">
                      <a:moveTo>
                        <a:pt x="1231" y="616"/>
                      </a:moveTo>
                      <a:lnTo>
                        <a:pt x="1231" y="1230"/>
                      </a:lnTo>
                      <a:lnTo>
                        <a:pt x="614" y="1230"/>
                      </a:lnTo>
                      <a:lnTo>
                        <a:pt x="614" y="1638"/>
                      </a:lnTo>
                      <a:lnTo>
                        <a:pt x="1231" y="1638"/>
                      </a:lnTo>
                      <a:lnTo>
                        <a:pt x="1231" y="2254"/>
                      </a:lnTo>
                      <a:lnTo>
                        <a:pt x="1639" y="2254"/>
                      </a:lnTo>
                      <a:lnTo>
                        <a:pt x="1639" y="1638"/>
                      </a:lnTo>
                      <a:lnTo>
                        <a:pt x="2254" y="1638"/>
                      </a:lnTo>
                      <a:lnTo>
                        <a:pt x="2254" y="1230"/>
                      </a:lnTo>
                      <a:lnTo>
                        <a:pt x="1639" y="1230"/>
                      </a:lnTo>
                      <a:lnTo>
                        <a:pt x="1639" y="616"/>
                      </a:lnTo>
                      <a:lnTo>
                        <a:pt x="1231" y="616"/>
                      </a:lnTo>
                      <a:close/>
                      <a:moveTo>
                        <a:pt x="1434" y="0"/>
                      </a:moveTo>
                      <a:lnTo>
                        <a:pt x="1566" y="6"/>
                      </a:lnTo>
                      <a:lnTo>
                        <a:pt x="1693" y="24"/>
                      </a:lnTo>
                      <a:lnTo>
                        <a:pt x="1817" y="52"/>
                      </a:lnTo>
                      <a:lnTo>
                        <a:pt x="1935" y="90"/>
                      </a:lnTo>
                      <a:lnTo>
                        <a:pt x="2050" y="138"/>
                      </a:lnTo>
                      <a:lnTo>
                        <a:pt x="2158" y="195"/>
                      </a:lnTo>
                      <a:lnTo>
                        <a:pt x="2262" y="263"/>
                      </a:lnTo>
                      <a:lnTo>
                        <a:pt x="2359" y="337"/>
                      </a:lnTo>
                      <a:lnTo>
                        <a:pt x="2449" y="421"/>
                      </a:lnTo>
                      <a:lnTo>
                        <a:pt x="2533" y="510"/>
                      </a:lnTo>
                      <a:lnTo>
                        <a:pt x="2607" y="608"/>
                      </a:lnTo>
                      <a:lnTo>
                        <a:pt x="2675" y="712"/>
                      </a:lnTo>
                      <a:lnTo>
                        <a:pt x="2732" y="819"/>
                      </a:lnTo>
                      <a:lnTo>
                        <a:pt x="2780" y="935"/>
                      </a:lnTo>
                      <a:lnTo>
                        <a:pt x="2818" y="1052"/>
                      </a:lnTo>
                      <a:lnTo>
                        <a:pt x="2846" y="1176"/>
                      </a:lnTo>
                      <a:lnTo>
                        <a:pt x="2864" y="1304"/>
                      </a:lnTo>
                      <a:lnTo>
                        <a:pt x="2870" y="1435"/>
                      </a:lnTo>
                      <a:lnTo>
                        <a:pt x="2864" y="1565"/>
                      </a:lnTo>
                      <a:lnTo>
                        <a:pt x="2846" y="1692"/>
                      </a:lnTo>
                      <a:lnTo>
                        <a:pt x="2818" y="1816"/>
                      </a:lnTo>
                      <a:lnTo>
                        <a:pt x="2780" y="1936"/>
                      </a:lnTo>
                      <a:lnTo>
                        <a:pt x="2732" y="2049"/>
                      </a:lnTo>
                      <a:lnTo>
                        <a:pt x="2675" y="2159"/>
                      </a:lnTo>
                      <a:lnTo>
                        <a:pt x="2607" y="2260"/>
                      </a:lnTo>
                      <a:lnTo>
                        <a:pt x="2533" y="2358"/>
                      </a:lnTo>
                      <a:lnTo>
                        <a:pt x="2449" y="2448"/>
                      </a:lnTo>
                      <a:lnTo>
                        <a:pt x="2359" y="2532"/>
                      </a:lnTo>
                      <a:lnTo>
                        <a:pt x="2262" y="2605"/>
                      </a:lnTo>
                      <a:lnTo>
                        <a:pt x="2158" y="2673"/>
                      </a:lnTo>
                      <a:lnTo>
                        <a:pt x="2050" y="2731"/>
                      </a:lnTo>
                      <a:lnTo>
                        <a:pt x="1935" y="2779"/>
                      </a:lnTo>
                      <a:lnTo>
                        <a:pt x="1817" y="2817"/>
                      </a:lnTo>
                      <a:lnTo>
                        <a:pt x="1693" y="2844"/>
                      </a:lnTo>
                      <a:lnTo>
                        <a:pt x="1566" y="2862"/>
                      </a:lnTo>
                      <a:lnTo>
                        <a:pt x="1434" y="2868"/>
                      </a:lnTo>
                      <a:lnTo>
                        <a:pt x="1304" y="2862"/>
                      </a:lnTo>
                      <a:lnTo>
                        <a:pt x="1177" y="2844"/>
                      </a:lnTo>
                      <a:lnTo>
                        <a:pt x="1053" y="2817"/>
                      </a:lnTo>
                      <a:lnTo>
                        <a:pt x="933" y="2779"/>
                      </a:lnTo>
                      <a:lnTo>
                        <a:pt x="820" y="2731"/>
                      </a:lnTo>
                      <a:lnTo>
                        <a:pt x="710" y="2673"/>
                      </a:lnTo>
                      <a:lnTo>
                        <a:pt x="606" y="2605"/>
                      </a:lnTo>
                      <a:lnTo>
                        <a:pt x="510" y="2532"/>
                      </a:lnTo>
                      <a:lnTo>
                        <a:pt x="421" y="2448"/>
                      </a:lnTo>
                      <a:lnTo>
                        <a:pt x="337" y="2358"/>
                      </a:lnTo>
                      <a:lnTo>
                        <a:pt x="263" y="2260"/>
                      </a:lnTo>
                      <a:lnTo>
                        <a:pt x="195" y="2159"/>
                      </a:lnTo>
                      <a:lnTo>
                        <a:pt x="138" y="2049"/>
                      </a:lnTo>
                      <a:lnTo>
                        <a:pt x="90" y="1936"/>
                      </a:lnTo>
                      <a:lnTo>
                        <a:pt x="52" y="1816"/>
                      </a:lnTo>
                      <a:lnTo>
                        <a:pt x="24" y="1692"/>
                      </a:lnTo>
                      <a:lnTo>
                        <a:pt x="6" y="1565"/>
                      </a:lnTo>
                      <a:lnTo>
                        <a:pt x="0" y="1435"/>
                      </a:lnTo>
                      <a:lnTo>
                        <a:pt x="6" y="1304"/>
                      </a:lnTo>
                      <a:lnTo>
                        <a:pt x="24" y="1176"/>
                      </a:lnTo>
                      <a:lnTo>
                        <a:pt x="52" y="1052"/>
                      </a:lnTo>
                      <a:lnTo>
                        <a:pt x="90" y="935"/>
                      </a:lnTo>
                      <a:lnTo>
                        <a:pt x="138" y="819"/>
                      </a:lnTo>
                      <a:lnTo>
                        <a:pt x="195" y="712"/>
                      </a:lnTo>
                      <a:lnTo>
                        <a:pt x="263" y="608"/>
                      </a:lnTo>
                      <a:lnTo>
                        <a:pt x="337" y="510"/>
                      </a:lnTo>
                      <a:lnTo>
                        <a:pt x="421" y="421"/>
                      </a:lnTo>
                      <a:lnTo>
                        <a:pt x="510" y="337"/>
                      </a:lnTo>
                      <a:lnTo>
                        <a:pt x="606" y="263"/>
                      </a:lnTo>
                      <a:lnTo>
                        <a:pt x="710" y="195"/>
                      </a:lnTo>
                      <a:lnTo>
                        <a:pt x="820" y="138"/>
                      </a:lnTo>
                      <a:lnTo>
                        <a:pt x="933" y="90"/>
                      </a:lnTo>
                      <a:lnTo>
                        <a:pt x="1053" y="52"/>
                      </a:lnTo>
                      <a:lnTo>
                        <a:pt x="1177" y="24"/>
                      </a:lnTo>
                      <a:lnTo>
                        <a:pt x="1304" y="6"/>
                      </a:lnTo>
                      <a:lnTo>
                        <a:pt x="143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57"/>
                <p:cNvSpPr>
                  <a:spLocks/>
                </p:cNvSpPr>
                <p:nvPr/>
              </p:nvSpPr>
              <p:spPr bwMode="auto">
                <a:xfrm>
                  <a:off x="2263" y="1544"/>
                  <a:ext cx="2081" cy="1024"/>
                </a:xfrm>
                <a:custGeom>
                  <a:avLst/>
                  <a:gdLst>
                    <a:gd name="T0" fmla="*/ 0 w 4163"/>
                    <a:gd name="T1" fmla="*/ 0 h 2049"/>
                    <a:gd name="T2" fmla="*/ 1343 w 4163"/>
                    <a:gd name="T3" fmla="*/ 0 h 2049"/>
                    <a:gd name="T4" fmla="*/ 1397 w 4163"/>
                    <a:gd name="T5" fmla="*/ 132 h 2049"/>
                    <a:gd name="T6" fmla="*/ 1458 w 4163"/>
                    <a:gd name="T7" fmla="*/ 257 h 2049"/>
                    <a:gd name="T8" fmla="*/ 1528 w 4163"/>
                    <a:gd name="T9" fmla="*/ 379 h 2049"/>
                    <a:gd name="T10" fmla="*/ 1608 w 4163"/>
                    <a:gd name="T11" fmla="*/ 492 h 2049"/>
                    <a:gd name="T12" fmla="*/ 1696 w 4163"/>
                    <a:gd name="T13" fmla="*/ 602 h 2049"/>
                    <a:gd name="T14" fmla="*/ 1791 w 4163"/>
                    <a:gd name="T15" fmla="*/ 702 h 2049"/>
                    <a:gd name="T16" fmla="*/ 1895 w 4163"/>
                    <a:gd name="T17" fmla="*/ 795 h 2049"/>
                    <a:gd name="T18" fmla="*/ 2005 w 4163"/>
                    <a:gd name="T19" fmla="*/ 883 h 2049"/>
                    <a:gd name="T20" fmla="*/ 2121 w 4163"/>
                    <a:gd name="T21" fmla="*/ 959 h 2049"/>
                    <a:gd name="T22" fmla="*/ 2242 w 4163"/>
                    <a:gd name="T23" fmla="*/ 1029 h 2049"/>
                    <a:gd name="T24" fmla="*/ 2370 w 4163"/>
                    <a:gd name="T25" fmla="*/ 1088 h 2049"/>
                    <a:gd name="T26" fmla="*/ 2502 w 4163"/>
                    <a:gd name="T27" fmla="*/ 1138 h 2049"/>
                    <a:gd name="T28" fmla="*/ 2639 w 4163"/>
                    <a:gd name="T29" fmla="*/ 1176 h 2049"/>
                    <a:gd name="T30" fmla="*/ 2781 w 4163"/>
                    <a:gd name="T31" fmla="*/ 1206 h 2049"/>
                    <a:gd name="T32" fmla="*/ 2926 w 4163"/>
                    <a:gd name="T33" fmla="*/ 1224 h 2049"/>
                    <a:gd name="T34" fmla="*/ 3074 w 4163"/>
                    <a:gd name="T35" fmla="*/ 1230 h 2049"/>
                    <a:gd name="T36" fmla="*/ 3210 w 4163"/>
                    <a:gd name="T37" fmla="*/ 1224 h 2049"/>
                    <a:gd name="T38" fmla="*/ 3341 w 4163"/>
                    <a:gd name="T39" fmla="*/ 1210 h 2049"/>
                    <a:gd name="T40" fmla="*/ 3471 w 4163"/>
                    <a:gd name="T41" fmla="*/ 1186 h 2049"/>
                    <a:gd name="T42" fmla="*/ 3597 w 4163"/>
                    <a:gd name="T43" fmla="*/ 1152 h 2049"/>
                    <a:gd name="T44" fmla="*/ 3718 w 4163"/>
                    <a:gd name="T45" fmla="*/ 1110 h 2049"/>
                    <a:gd name="T46" fmla="*/ 3836 w 4163"/>
                    <a:gd name="T47" fmla="*/ 1061 h 2049"/>
                    <a:gd name="T48" fmla="*/ 3950 w 4163"/>
                    <a:gd name="T49" fmla="*/ 1003 h 2049"/>
                    <a:gd name="T50" fmla="*/ 4059 w 4163"/>
                    <a:gd name="T51" fmla="*/ 939 h 2049"/>
                    <a:gd name="T52" fmla="*/ 4163 w 4163"/>
                    <a:gd name="T53" fmla="*/ 867 h 2049"/>
                    <a:gd name="T54" fmla="*/ 3690 w 4163"/>
                    <a:gd name="T55" fmla="*/ 2049 h 2049"/>
                    <a:gd name="T56" fmla="*/ 820 w 4163"/>
                    <a:gd name="T57" fmla="*/ 2049 h 2049"/>
                    <a:gd name="T58" fmla="*/ 0 w 4163"/>
                    <a:gd name="T59" fmla="*/ 0 h 20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163" h="2049">
                      <a:moveTo>
                        <a:pt x="0" y="0"/>
                      </a:moveTo>
                      <a:lnTo>
                        <a:pt x="1343" y="0"/>
                      </a:lnTo>
                      <a:lnTo>
                        <a:pt x="1397" y="132"/>
                      </a:lnTo>
                      <a:lnTo>
                        <a:pt x="1458" y="257"/>
                      </a:lnTo>
                      <a:lnTo>
                        <a:pt x="1528" y="379"/>
                      </a:lnTo>
                      <a:lnTo>
                        <a:pt x="1608" y="492"/>
                      </a:lnTo>
                      <a:lnTo>
                        <a:pt x="1696" y="602"/>
                      </a:lnTo>
                      <a:lnTo>
                        <a:pt x="1791" y="702"/>
                      </a:lnTo>
                      <a:lnTo>
                        <a:pt x="1895" y="795"/>
                      </a:lnTo>
                      <a:lnTo>
                        <a:pt x="2005" y="883"/>
                      </a:lnTo>
                      <a:lnTo>
                        <a:pt x="2121" y="959"/>
                      </a:lnTo>
                      <a:lnTo>
                        <a:pt x="2242" y="1029"/>
                      </a:lnTo>
                      <a:lnTo>
                        <a:pt x="2370" y="1088"/>
                      </a:lnTo>
                      <a:lnTo>
                        <a:pt x="2502" y="1138"/>
                      </a:lnTo>
                      <a:lnTo>
                        <a:pt x="2639" y="1176"/>
                      </a:lnTo>
                      <a:lnTo>
                        <a:pt x="2781" y="1206"/>
                      </a:lnTo>
                      <a:lnTo>
                        <a:pt x="2926" y="1224"/>
                      </a:lnTo>
                      <a:lnTo>
                        <a:pt x="3074" y="1230"/>
                      </a:lnTo>
                      <a:lnTo>
                        <a:pt x="3210" y="1224"/>
                      </a:lnTo>
                      <a:lnTo>
                        <a:pt x="3341" y="1210"/>
                      </a:lnTo>
                      <a:lnTo>
                        <a:pt x="3471" y="1186"/>
                      </a:lnTo>
                      <a:lnTo>
                        <a:pt x="3597" y="1152"/>
                      </a:lnTo>
                      <a:lnTo>
                        <a:pt x="3718" y="1110"/>
                      </a:lnTo>
                      <a:lnTo>
                        <a:pt x="3836" y="1061"/>
                      </a:lnTo>
                      <a:lnTo>
                        <a:pt x="3950" y="1003"/>
                      </a:lnTo>
                      <a:lnTo>
                        <a:pt x="4059" y="939"/>
                      </a:lnTo>
                      <a:lnTo>
                        <a:pt x="4163" y="867"/>
                      </a:lnTo>
                      <a:lnTo>
                        <a:pt x="3690" y="2049"/>
                      </a:lnTo>
                      <a:lnTo>
                        <a:pt x="820" y="20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39" name="Freeform 83"/>
              <p:cNvSpPr>
                <a:spLocks/>
              </p:cNvSpPr>
              <p:nvPr/>
            </p:nvSpPr>
            <p:spPr bwMode="auto">
              <a:xfrm>
                <a:off x="6290037" y="4468087"/>
                <a:ext cx="336838" cy="342412"/>
              </a:xfrm>
              <a:custGeom>
                <a:avLst/>
                <a:gdLst>
                  <a:gd name="T0" fmla="*/ 1707 w 3294"/>
                  <a:gd name="T1" fmla="*/ 11 h 3870"/>
                  <a:gd name="T2" fmla="*/ 3255 w 3294"/>
                  <a:gd name="T3" fmla="*/ 1624 h 3870"/>
                  <a:gd name="T4" fmla="*/ 3292 w 3294"/>
                  <a:gd name="T5" fmla="*/ 1697 h 3870"/>
                  <a:gd name="T6" fmla="*/ 3282 w 3294"/>
                  <a:gd name="T7" fmla="*/ 1778 h 3870"/>
                  <a:gd name="T8" fmla="*/ 3230 w 3294"/>
                  <a:gd name="T9" fmla="*/ 1841 h 3870"/>
                  <a:gd name="T10" fmla="*/ 3151 w 3294"/>
                  <a:gd name="T11" fmla="*/ 1865 h 3870"/>
                  <a:gd name="T12" fmla="*/ 2941 w 3294"/>
                  <a:gd name="T13" fmla="*/ 3533 h 3870"/>
                  <a:gd name="T14" fmla="*/ 2892 w 3294"/>
                  <a:gd name="T15" fmla="*/ 3677 h 3870"/>
                  <a:gd name="T16" fmla="*/ 2792 w 3294"/>
                  <a:gd name="T17" fmla="*/ 3789 h 3870"/>
                  <a:gd name="T18" fmla="*/ 2658 w 3294"/>
                  <a:gd name="T19" fmla="*/ 3857 h 3870"/>
                  <a:gd name="T20" fmla="*/ 1777 w 3294"/>
                  <a:gd name="T21" fmla="*/ 3870 h 3870"/>
                  <a:gd name="T22" fmla="*/ 1884 w 3294"/>
                  <a:gd name="T23" fmla="*/ 3125 h 3870"/>
                  <a:gd name="T24" fmla="*/ 2016 w 3294"/>
                  <a:gd name="T25" fmla="*/ 3017 h 3870"/>
                  <a:gd name="T26" fmla="*/ 2105 w 3294"/>
                  <a:gd name="T27" fmla="*/ 2872 h 3870"/>
                  <a:gd name="T28" fmla="*/ 2137 w 3294"/>
                  <a:gd name="T29" fmla="*/ 2698 h 3870"/>
                  <a:gd name="T30" fmla="*/ 2194 w 3294"/>
                  <a:gd name="T31" fmla="*/ 2305 h 3870"/>
                  <a:gd name="T32" fmla="*/ 2253 w 3294"/>
                  <a:gd name="T33" fmla="*/ 2246 h 3870"/>
                  <a:gd name="T34" fmla="*/ 2264 w 3294"/>
                  <a:gd name="T35" fmla="*/ 2158 h 3870"/>
                  <a:gd name="T36" fmla="*/ 2218 w 3294"/>
                  <a:gd name="T37" fmla="*/ 2087 h 3870"/>
                  <a:gd name="T38" fmla="*/ 2137 w 3294"/>
                  <a:gd name="T39" fmla="*/ 2057 h 3870"/>
                  <a:gd name="T40" fmla="*/ 1954 w 3294"/>
                  <a:gd name="T41" fmla="*/ 1744 h 3870"/>
                  <a:gd name="T42" fmla="*/ 1908 w 3294"/>
                  <a:gd name="T43" fmla="*/ 1685 h 3870"/>
                  <a:gd name="T44" fmla="*/ 1832 w 3294"/>
                  <a:gd name="T45" fmla="*/ 1675 h 3870"/>
                  <a:gd name="T46" fmla="*/ 1774 w 3294"/>
                  <a:gd name="T47" fmla="*/ 1720 h 3870"/>
                  <a:gd name="T48" fmla="*/ 1760 w 3294"/>
                  <a:gd name="T49" fmla="*/ 2057 h 3870"/>
                  <a:gd name="T50" fmla="*/ 1561 w 3294"/>
                  <a:gd name="T51" fmla="*/ 1744 h 3870"/>
                  <a:gd name="T52" fmla="*/ 1516 w 3294"/>
                  <a:gd name="T53" fmla="*/ 1685 h 3870"/>
                  <a:gd name="T54" fmla="*/ 1440 w 3294"/>
                  <a:gd name="T55" fmla="*/ 1675 h 3870"/>
                  <a:gd name="T56" fmla="*/ 1383 w 3294"/>
                  <a:gd name="T57" fmla="*/ 1720 h 3870"/>
                  <a:gd name="T58" fmla="*/ 1368 w 3294"/>
                  <a:gd name="T59" fmla="*/ 2057 h 3870"/>
                  <a:gd name="T60" fmla="*/ 1099 w 3294"/>
                  <a:gd name="T61" fmla="*/ 2070 h 3870"/>
                  <a:gd name="T62" fmla="*/ 1039 w 3294"/>
                  <a:gd name="T63" fmla="*/ 2130 h 3870"/>
                  <a:gd name="T64" fmla="*/ 1030 w 3294"/>
                  <a:gd name="T65" fmla="*/ 2217 h 3870"/>
                  <a:gd name="T66" fmla="*/ 1075 w 3294"/>
                  <a:gd name="T67" fmla="*/ 2289 h 3870"/>
                  <a:gd name="T68" fmla="*/ 1156 w 3294"/>
                  <a:gd name="T69" fmla="*/ 2319 h 3870"/>
                  <a:gd name="T70" fmla="*/ 1171 w 3294"/>
                  <a:gd name="T71" fmla="*/ 2817 h 3870"/>
                  <a:gd name="T72" fmla="*/ 1242 w 3294"/>
                  <a:gd name="T73" fmla="*/ 2973 h 3870"/>
                  <a:gd name="T74" fmla="*/ 1361 w 3294"/>
                  <a:gd name="T75" fmla="*/ 3094 h 3870"/>
                  <a:gd name="T76" fmla="*/ 1516 w 3294"/>
                  <a:gd name="T77" fmla="*/ 3168 h 3870"/>
                  <a:gd name="T78" fmla="*/ 686 w 3294"/>
                  <a:gd name="T79" fmla="*/ 3867 h 3870"/>
                  <a:gd name="T80" fmla="*/ 541 w 3294"/>
                  <a:gd name="T81" fmla="*/ 3817 h 3870"/>
                  <a:gd name="T82" fmla="*/ 429 w 3294"/>
                  <a:gd name="T83" fmla="*/ 3718 h 3870"/>
                  <a:gd name="T84" fmla="*/ 362 w 3294"/>
                  <a:gd name="T85" fmla="*/ 3584 h 3870"/>
                  <a:gd name="T86" fmla="*/ 348 w 3294"/>
                  <a:gd name="T87" fmla="*/ 1865 h 3870"/>
                  <a:gd name="T88" fmla="*/ 88 w 3294"/>
                  <a:gd name="T89" fmla="*/ 1854 h 3870"/>
                  <a:gd name="T90" fmla="*/ 26 w 3294"/>
                  <a:gd name="T91" fmla="*/ 1803 h 3870"/>
                  <a:gd name="T92" fmla="*/ 0 w 3294"/>
                  <a:gd name="T93" fmla="*/ 1724 h 3870"/>
                  <a:gd name="T94" fmla="*/ 22 w 3294"/>
                  <a:gd name="T95" fmla="*/ 1646 h 3870"/>
                  <a:gd name="T96" fmla="*/ 1569 w 3294"/>
                  <a:gd name="T97" fmla="*/ 25 h 3870"/>
                  <a:gd name="T98" fmla="*/ 1650 w 3294"/>
                  <a:gd name="T99" fmla="*/ 0 h 3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94" h="3870">
                    <a:moveTo>
                      <a:pt x="1650" y="0"/>
                    </a:moveTo>
                    <a:lnTo>
                      <a:pt x="1680" y="2"/>
                    </a:lnTo>
                    <a:lnTo>
                      <a:pt x="1707" y="11"/>
                    </a:lnTo>
                    <a:lnTo>
                      <a:pt x="1732" y="25"/>
                    </a:lnTo>
                    <a:lnTo>
                      <a:pt x="1754" y="44"/>
                    </a:lnTo>
                    <a:lnTo>
                      <a:pt x="3255" y="1624"/>
                    </a:lnTo>
                    <a:lnTo>
                      <a:pt x="3273" y="1646"/>
                    </a:lnTo>
                    <a:lnTo>
                      <a:pt x="3284" y="1671"/>
                    </a:lnTo>
                    <a:lnTo>
                      <a:pt x="3292" y="1697"/>
                    </a:lnTo>
                    <a:lnTo>
                      <a:pt x="3294" y="1725"/>
                    </a:lnTo>
                    <a:lnTo>
                      <a:pt x="3290" y="1752"/>
                    </a:lnTo>
                    <a:lnTo>
                      <a:pt x="3282" y="1778"/>
                    </a:lnTo>
                    <a:lnTo>
                      <a:pt x="3269" y="1803"/>
                    </a:lnTo>
                    <a:lnTo>
                      <a:pt x="3251" y="1824"/>
                    </a:lnTo>
                    <a:lnTo>
                      <a:pt x="3230" y="1841"/>
                    </a:lnTo>
                    <a:lnTo>
                      <a:pt x="3205" y="1854"/>
                    </a:lnTo>
                    <a:lnTo>
                      <a:pt x="3179" y="1862"/>
                    </a:lnTo>
                    <a:lnTo>
                      <a:pt x="3151" y="1865"/>
                    </a:lnTo>
                    <a:lnTo>
                      <a:pt x="2945" y="1865"/>
                    </a:lnTo>
                    <a:lnTo>
                      <a:pt x="2945" y="3480"/>
                    </a:lnTo>
                    <a:lnTo>
                      <a:pt x="2941" y="3533"/>
                    </a:lnTo>
                    <a:lnTo>
                      <a:pt x="2932" y="3584"/>
                    </a:lnTo>
                    <a:lnTo>
                      <a:pt x="2914" y="3632"/>
                    </a:lnTo>
                    <a:lnTo>
                      <a:pt x="2892" y="3677"/>
                    </a:lnTo>
                    <a:lnTo>
                      <a:pt x="2863" y="3718"/>
                    </a:lnTo>
                    <a:lnTo>
                      <a:pt x="2830" y="3756"/>
                    </a:lnTo>
                    <a:lnTo>
                      <a:pt x="2792" y="3789"/>
                    </a:lnTo>
                    <a:lnTo>
                      <a:pt x="2751" y="3817"/>
                    </a:lnTo>
                    <a:lnTo>
                      <a:pt x="2706" y="3840"/>
                    </a:lnTo>
                    <a:lnTo>
                      <a:pt x="2658" y="3857"/>
                    </a:lnTo>
                    <a:lnTo>
                      <a:pt x="2607" y="3867"/>
                    </a:lnTo>
                    <a:lnTo>
                      <a:pt x="2554" y="3870"/>
                    </a:lnTo>
                    <a:lnTo>
                      <a:pt x="1777" y="3870"/>
                    </a:lnTo>
                    <a:lnTo>
                      <a:pt x="1777" y="3168"/>
                    </a:lnTo>
                    <a:lnTo>
                      <a:pt x="1832" y="3149"/>
                    </a:lnTo>
                    <a:lnTo>
                      <a:pt x="1884" y="3125"/>
                    </a:lnTo>
                    <a:lnTo>
                      <a:pt x="1932" y="3094"/>
                    </a:lnTo>
                    <a:lnTo>
                      <a:pt x="1976" y="3057"/>
                    </a:lnTo>
                    <a:lnTo>
                      <a:pt x="2016" y="3017"/>
                    </a:lnTo>
                    <a:lnTo>
                      <a:pt x="2052" y="2973"/>
                    </a:lnTo>
                    <a:lnTo>
                      <a:pt x="2081" y="2924"/>
                    </a:lnTo>
                    <a:lnTo>
                      <a:pt x="2105" y="2872"/>
                    </a:lnTo>
                    <a:lnTo>
                      <a:pt x="2122" y="2817"/>
                    </a:lnTo>
                    <a:lnTo>
                      <a:pt x="2133" y="2758"/>
                    </a:lnTo>
                    <a:lnTo>
                      <a:pt x="2137" y="2698"/>
                    </a:lnTo>
                    <a:lnTo>
                      <a:pt x="2137" y="2319"/>
                    </a:lnTo>
                    <a:lnTo>
                      <a:pt x="2166" y="2315"/>
                    </a:lnTo>
                    <a:lnTo>
                      <a:pt x="2194" y="2305"/>
                    </a:lnTo>
                    <a:lnTo>
                      <a:pt x="2218" y="2289"/>
                    </a:lnTo>
                    <a:lnTo>
                      <a:pt x="2238" y="2269"/>
                    </a:lnTo>
                    <a:lnTo>
                      <a:pt x="2253" y="2246"/>
                    </a:lnTo>
                    <a:lnTo>
                      <a:pt x="2264" y="2217"/>
                    </a:lnTo>
                    <a:lnTo>
                      <a:pt x="2267" y="2188"/>
                    </a:lnTo>
                    <a:lnTo>
                      <a:pt x="2264" y="2158"/>
                    </a:lnTo>
                    <a:lnTo>
                      <a:pt x="2253" y="2130"/>
                    </a:lnTo>
                    <a:lnTo>
                      <a:pt x="2238" y="2107"/>
                    </a:lnTo>
                    <a:lnTo>
                      <a:pt x="2218" y="2087"/>
                    </a:lnTo>
                    <a:lnTo>
                      <a:pt x="2194" y="2070"/>
                    </a:lnTo>
                    <a:lnTo>
                      <a:pt x="2166" y="2061"/>
                    </a:lnTo>
                    <a:lnTo>
                      <a:pt x="2137" y="2057"/>
                    </a:lnTo>
                    <a:lnTo>
                      <a:pt x="1957" y="2057"/>
                    </a:lnTo>
                    <a:lnTo>
                      <a:pt x="1957" y="1770"/>
                    </a:lnTo>
                    <a:lnTo>
                      <a:pt x="1954" y="1744"/>
                    </a:lnTo>
                    <a:lnTo>
                      <a:pt x="1943" y="1720"/>
                    </a:lnTo>
                    <a:lnTo>
                      <a:pt x="1928" y="1700"/>
                    </a:lnTo>
                    <a:lnTo>
                      <a:pt x="1908" y="1685"/>
                    </a:lnTo>
                    <a:lnTo>
                      <a:pt x="1885" y="1675"/>
                    </a:lnTo>
                    <a:lnTo>
                      <a:pt x="1858" y="1672"/>
                    </a:lnTo>
                    <a:lnTo>
                      <a:pt x="1832" y="1675"/>
                    </a:lnTo>
                    <a:lnTo>
                      <a:pt x="1810" y="1685"/>
                    </a:lnTo>
                    <a:lnTo>
                      <a:pt x="1790" y="1700"/>
                    </a:lnTo>
                    <a:lnTo>
                      <a:pt x="1774" y="1720"/>
                    </a:lnTo>
                    <a:lnTo>
                      <a:pt x="1764" y="1744"/>
                    </a:lnTo>
                    <a:lnTo>
                      <a:pt x="1760" y="1770"/>
                    </a:lnTo>
                    <a:lnTo>
                      <a:pt x="1760" y="2057"/>
                    </a:lnTo>
                    <a:lnTo>
                      <a:pt x="1564" y="2057"/>
                    </a:lnTo>
                    <a:lnTo>
                      <a:pt x="1564" y="1770"/>
                    </a:lnTo>
                    <a:lnTo>
                      <a:pt x="1561" y="1744"/>
                    </a:lnTo>
                    <a:lnTo>
                      <a:pt x="1551" y="1720"/>
                    </a:lnTo>
                    <a:lnTo>
                      <a:pt x="1536" y="1700"/>
                    </a:lnTo>
                    <a:lnTo>
                      <a:pt x="1516" y="1685"/>
                    </a:lnTo>
                    <a:lnTo>
                      <a:pt x="1492" y="1675"/>
                    </a:lnTo>
                    <a:lnTo>
                      <a:pt x="1466" y="1672"/>
                    </a:lnTo>
                    <a:lnTo>
                      <a:pt x="1440" y="1675"/>
                    </a:lnTo>
                    <a:lnTo>
                      <a:pt x="1417" y="1685"/>
                    </a:lnTo>
                    <a:lnTo>
                      <a:pt x="1398" y="1700"/>
                    </a:lnTo>
                    <a:lnTo>
                      <a:pt x="1383" y="1720"/>
                    </a:lnTo>
                    <a:lnTo>
                      <a:pt x="1372" y="1744"/>
                    </a:lnTo>
                    <a:lnTo>
                      <a:pt x="1368" y="1770"/>
                    </a:lnTo>
                    <a:lnTo>
                      <a:pt x="1368" y="2057"/>
                    </a:lnTo>
                    <a:lnTo>
                      <a:pt x="1156" y="2057"/>
                    </a:lnTo>
                    <a:lnTo>
                      <a:pt x="1127" y="2061"/>
                    </a:lnTo>
                    <a:lnTo>
                      <a:pt x="1099" y="2070"/>
                    </a:lnTo>
                    <a:lnTo>
                      <a:pt x="1075" y="2087"/>
                    </a:lnTo>
                    <a:lnTo>
                      <a:pt x="1055" y="2107"/>
                    </a:lnTo>
                    <a:lnTo>
                      <a:pt x="1039" y="2130"/>
                    </a:lnTo>
                    <a:lnTo>
                      <a:pt x="1030" y="2158"/>
                    </a:lnTo>
                    <a:lnTo>
                      <a:pt x="1026" y="2188"/>
                    </a:lnTo>
                    <a:lnTo>
                      <a:pt x="1030" y="2217"/>
                    </a:lnTo>
                    <a:lnTo>
                      <a:pt x="1039" y="2246"/>
                    </a:lnTo>
                    <a:lnTo>
                      <a:pt x="1055" y="2269"/>
                    </a:lnTo>
                    <a:lnTo>
                      <a:pt x="1075" y="2289"/>
                    </a:lnTo>
                    <a:lnTo>
                      <a:pt x="1099" y="2305"/>
                    </a:lnTo>
                    <a:lnTo>
                      <a:pt x="1127" y="2315"/>
                    </a:lnTo>
                    <a:lnTo>
                      <a:pt x="1156" y="2319"/>
                    </a:lnTo>
                    <a:lnTo>
                      <a:pt x="1156" y="2698"/>
                    </a:lnTo>
                    <a:lnTo>
                      <a:pt x="1161" y="2758"/>
                    </a:lnTo>
                    <a:lnTo>
                      <a:pt x="1171" y="2817"/>
                    </a:lnTo>
                    <a:lnTo>
                      <a:pt x="1189" y="2871"/>
                    </a:lnTo>
                    <a:lnTo>
                      <a:pt x="1213" y="2924"/>
                    </a:lnTo>
                    <a:lnTo>
                      <a:pt x="1242" y="2973"/>
                    </a:lnTo>
                    <a:lnTo>
                      <a:pt x="1276" y="3017"/>
                    </a:lnTo>
                    <a:lnTo>
                      <a:pt x="1317" y="3057"/>
                    </a:lnTo>
                    <a:lnTo>
                      <a:pt x="1361" y="3094"/>
                    </a:lnTo>
                    <a:lnTo>
                      <a:pt x="1409" y="3125"/>
                    </a:lnTo>
                    <a:lnTo>
                      <a:pt x="1460" y="3149"/>
                    </a:lnTo>
                    <a:lnTo>
                      <a:pt x="1516" y="3168"/>
                    </a:lnTo>
                    <a:lnTo>
                      <a:pt x="1516" y="3870"/>
                    </a:lnTo>
                    <a:lnTo>
                      <a:pt x="740" y="3870"/>
                    </a:lnTo>
                    <a:lnTo>
                      <a:pt x="686" y="3867"/>
                    </a:lnTo>
                    <a:lnTo>
                      <a:pt x="636" y="3857"/>
                    </a:lnTo>
                    <a:lnTo>
                      <a:pt x="587" y="3840"/>
                    </a:lnTo>
                    <a:lnTo>
                      <a:pt x="541" y="3817"/>
                    </a:lnTo>
                    <a:lnTo>
                      <a:pt x="500" y="3789"/>
                    </a:lnTo>
                    <a:lnTo>
                      <a:pt x="462" y="3756"/>
                    </a:lnTo>
                    <a:lnTo>
                      <a:pt x="429" y="3718"/>
                    </a:lnTo>
                    <a:lnTo>
                      <a:pt x="401" y="3677"/>
                    </a:lnTo>
                    <a:lnTo>
                      <a:pt x="379" y="3632"/>
                    </a:lnTo>
                    <a:lnTo>
                      <a:pt x="362" y="3584"/>
                    </a:lnTo>
                    <a:lnTo>
                      <a:pt x="351" y="3533"/>
                    </a:lnTo>
                    <a:lnTo>
                      <a:pt x="348" y="3480"/>
                    </a:lnTo>
                    <a:lnTo>
                      <a:pt x="348" y="1865"/>
                    </a:lnTo>
                    <a:lnTo>
                      <a:pt x="143" y="1865"/>
                    </a:lnTo>
                    <a:lnTo>
                      <a:pt x="115" y="1862"/>
                    </a:lnTo>
                    <a:lnTo>
                      <a:pt x="88" y="1854"/>
                    </a:lnTo>
                    <a:lnTo>
                      <a:pt x="65" y="1841"/>
                    </a:lnTo>
                    <a:lnTo>
                      <a:pt x="43" y="1824"/>
                    </a:lnTo>
                    <a:lnTo>
                      <a:pt x="26" y="1803"/>
                    </a:lnTo>
                    <a:lnTo>
                      <a:pt x="12" y="1778"/>
                    </a:lnTo>
                    <a:lnTo>
                      <a:pt x="3" y="1752"/>
                    </a:lnTo>
                    <a:lnTo>
                      <a:pt x="0" y="1724"/>
                    </a:lnTo>
                    <a:lnTo>
                      <a:pt x="2" y="1697"/>
                    </a:lnTo>
                    <a:lnTo>
                      <a:pt x="9" y="1671"/>
                    </a:lnTo>
                    <a:lnTo>
                      <a:pt x="22" y="1646"/>
                    </a:lnTo>
                    <a:lnTo>
                      <a:pt x="40" y="1624"/>
                    </a:lnTo>
                    <a:lnTo>
                      <a:pt x="1547" y="44"/>
                    </a:lnTo>
                    <a:lnTo>
                      <a:pt x="1569" y="25"/>
                    </a:lnTo>
                    <a:lnTo>
                      <a:pt x="1594" y="11"/>
                    </a:lnTo>
                    <a:lnTo>
                      <a:pt x="1622" y="2"/>
                    </a:lnTo>
                    <a:lnTo>
                      <a:pt x="16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143" name="Picture 142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70053" y="4075993"/>
                <a:ext cx="776038" cy="465622"/>
              </a:xfrm>
              <a:prstGeom prst="rect">
                <a:avLst/>
              </a:prstGeom>
              <a:noFill/>
            </p:spPr>
          </p:pic>
          <p:grpSp>
            <p:nvGrpSpPr>
              <p:cNvPr id="144" name="Group 107"/>
              <p:cNvGrpSpPr>
                <a:grpSpLocks noChangeAspect="1"/>
              </p:cNvGrpSpPr>
              <p:nvPr/>
            </p:nvGrpSpPr>
            <p:grpSpPr bwMode="auto">
              <a:xfrm>
                <a:off x="4805024" y="3524486"/>
                <a:ext cx="293393" cy="381089"/>
                <a:chOff x="6087" y="198"/>
                <a:chExt cx="1723" cy="2238"/>
              </a:xfrm>
              <a:solidFill>
                <a:schemeClr val="bg1"/>
              </a:solidFill>
            </p:grpSpPr>
            <p:sp>
              <p:nvSpPr>
                <p:cNvPr id="145" name="Freeform 109"/>
                <p:cNvSpPr>
                  <a:spLocks noEditPoints="1"/>
                </p:cNvSpPr>
                <p:nvPr/>
              </p:nvSpPr>
              <p:spPr bwMode="auto">
                <a:xfrm>
                  <a:off x="6087" y="198"/>
                  <a:ext cx="1723" cy="2238"/>
                </a:xfrm>
                <a:custGeom>
                  <a:avLst/>
                  <a:gdLst>
                    <a:gd name="T0" fmla="*/ 292 w 3445"/>
                    <a:gd name="T1" fmla="*/ 3944 h 4476"/>
                    <a:gd name="T2" fmla="*/ 481 w 3445"/>
                    <a:gd name="T3" fmla="*/ 4159 h 4476"/>
                    <a:gd name="T4" fmla="*/ 2735 w 3445"/>
                    <a:gd name="T5" fmla="*/ 4220 h 4476"/>
                    <a:gd name="T6" fmla="*/ 3011 w 3445"/>
                    <a:gd name="T7" fmla="*/ 4126 h 4476"/>
                    <a:gd name="T8" fmla="*/ 3172 w 3445"/>
                    <a:gd name="T9" fmla="*/ 3887 h 4476"/>
                    <a:gd name="T10" fmla="*/ 3134 w 3445"/>
                    <a:gd name="T11" fmla="*/ 3563 h 4476"/>
                    <a:gd name="T12" fmla="*/ 2807 w 3445"/>
                    <a:gd name="T13" fmla="*/ 3683 h 4476"/>
                    <a:gd name="T14" fmla="*/ 497 w 3445"/>
                    <a:gd name="T15" fmla="*/ 3654 h 4476"/>
                    <a:gd name="T16" fmla="*/ 257 w 3445"/>
                    <a:gd name="T17" fmla="*/ 2733 h 4476"/>
                    <a:gd name="T18" fmla="*/ 318 w 3445"/>
                    <a:gd name="T19" fmla="*/ 3205 h 4476"/>
                    <a:gd name="T20" fmla="*/ 534 w 3445"/>
                    <a:gd name="T21" fmla="*/ 3394 h 4476"/>
                    <a:gd name="T22" fmla="*/ 2796 w 3445"/>
                    <a:gd name="T23" fmla="*/ 3425 h 4476"/>
                    <a:gd name="T24" fmla="*/ 3055 w 3445"/>
                    <a:gd name="T25" fmla="*/ 3296 h 4476"/>
                    <a:gd name="T26" fmla="*/ 3184 w 3445"/>
                    <a:gd name="T27" fmla="*/ 3038 h 4476"/>
                    <a:gd name="T28" fmla="*/ 3075 w 3445"/>
                    <a:gd name="T29" fmla="*/ 2810 h 4476"/>
                    <a:gd name="T30" fmla="*/ 2735 w 3445"/>
                    <a:gd name="T31" fmla="*/ 2897 h 4476"/>
                    <a:gd name="T32" fmla="*/ 432 w 3445"/>
                    <a:gd name="T33" fmla="*/ 2840 h 4476"/>
                    <a:gd name="T34" fmla="*/ 257 w 3445"/>
                    <a:gd name="T35" fmla="*/ 2186 h 4476"/>
                    <a:gd name="T36" fmla="*/ 350 w 3445"/>
                    <a:gd name="T37" fmla="*/ 2463 h 4476"/>
                    <a:gd name="T38" fmla="*/ 590 w 3445"/>
                    <a:gd name="T39" fmla="*/ 2623 h 4476"/>
                    <a:gd name="T40" fmla="*/ 2855 w 3445"/>
                    <a:gd name="T41" fmla="*/ 2623 h 4476"/>
                    <a:gd name="T42" fmla="*/ 3094 w 3445"/>
                    <a:gd name="T43" fmla="*/ 2463 h 4476"/>
                    <a:gd name="T44" fmla="*/ 3188 w 3445"/>
                    <a:gd name="T45" fmla="*/ 2186 h 4476"/>
                    <a:gd name="T46" fmla="*/ 3013 w 3445"/>
                    <a:gd name="T47" fmla="*/ 2052 h 4476"/>
                    <a:gd name="T48" fmla="*/ 709 w 3445"/>
                    <a:gd name="T49" fmla="*/ 2109 h 4476"/>
                    <a:gd name="T50" fmla="*/ 369 w 3445"/>
                    <a:gd name="T51" fmla="*/ 2022 h 4476"/>
                    <a:gd name="T52" fmla="*/ 1533 w 3445"/>
                    <a:gd name="T53" fmla="*/ 298 h 4476"/>
                    <a:gd name="T54" fmla="*/ 1102 w 3445"/>
                    <a:gd name="T55" fmla="*/ 415 h 4476"/>
                    <a:gd name="T56" fmla="*/ 783 w 3445"/>
                    <a:gd name="T57" fmla="*/ 640 h 4476"/>
                    <a:gd name="T58" fmla="*/ 624 w 3445"/>
                    <a:gd name="T59" fmla="*/ 928 h 4476"/>
                    <a:gd name="T60" fmla="*/ 643 w 3445"/>
                    <a:gd name="T61" fmla="*/ 1244 h 4476"/>
                    <a:gd name="T62" fmla="*/ 834 w 3445"/>
                    <a:gd name="T63" fmla="*/ 1520 h 4476"/>
                    <a:gd name="T64" fmla="*/ 1183 w 3445"/>
                    <a:gd name="T65" fmla="*/ 1728 h 4476"/>
                    <a:gd name="T66" fmla="*/ 1627 w 3445"/>
                    <a:gd name="T67" fmla="*/ 1819 h 4476"/>
                    <a:gd name="T68" fmla="*/ 2092 w 3445"/>
                    <a:gd name="T69" fmla="*/ 1780 h 4476"/>
                    <a:gd name="T70" fmla="*/ 2488 w 3445"/>
                    <a:gd name="T71" fmla="*/ 1614 h 4476"/>
                    <a:gd name="T72" fmla="*/ 2746 w 3445"/>
                    <a:gd name="T73" fmla="*/ 1360 h 4476"/>
                    <a:gd name="T74" fmla="*/ 2835 w 3445"/>
                    <a:gd name="T75" fmla="*/ 1055 h 4476"/>
                    <a:gd name="T76" fmla="*/ 2746 w 3445"/>
                    <a:gd name="T77" fmla="*/ 749 h 4476"/>
                    <a:gd name="T78" fmla="*/ 2488 w 3445"/>
                    <a:gd name="T79" fmla="*/ 495 h 4476"/>
                    <a:gd name="T80" fmla="*/ 2092 w 3445"/>
                    <a:gd name="T81" fmla="*/ 330 h 4476"/>
                    <a:gd name="T82" fmla="*/ 709 w 3445"/>
                    <a:gd name="T83" fmla="*/ 0 h 4476"/>
                    <a:gd name="T84" fmla="*/ 3028 w 3445"/>
                    <a:gd name="T85" fmla="*/ 64 h 4476"/>
                    <a:gd name="T86" fmla="*/ 3308 w 3445"/>
                    <a:gd name="T87" fmla="*/ 290 h 4476"/>
                    <a:gd name="T88" fmla="*/ 3441 w 3445"/>
                    <a:gd name="T89" fmla="*/ 631 h 4476"/>
                    <a:gd name="T90" fmla="*/ 3408 w 3445"/>
                    <a:gd name="T91" fmla="*/ 3992 h 4476"/>
                    <a:gd name="T92" fmla="*/ 3210 w 3445"/>
                    <a:gd name="T93" fmla="*/ 4293 h 4476"/>
                    <a:gd name="T94" fmla="*/ 2886 w 3445"/>
                    <a:gd name="T95" fmla="*/ 4460 h 4476"/>
                    <a:gd name="T96" fmla="*/ 557 w 3445"/>
                    <a:gd name="T97" fmla="*/ 4460 h 4476"/>
                    <a:gd name="T98" fmla="*/ 235 w 3445"/>
                    <a:gd name="T99" fmla="*/ 4293 h 4476"/>
                    <a:gd name="T100" fmla="*/ 36 w 3445"/>
                    <a:gd name="T101" fmla="*/ 3992 h 4476"/>
                    <a:gd name="T102" fmla="*/ 4 w 3445"/>
                    <a:gd name="T103" fmla="*/ 631 h 4476"/>
                    <a:gd name="T104" fmla="*/ 137 w 3445"/>
                    <a:gd name="T105" fmla="*/ 290 h 4476"/>
                    <a:gd name="T106" fmla="*/ 417 w 3445"/>
                    <a:gd name="T107" fmla="*/ 64 h 4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445" h="4476">
                      <a:moveTo>
                        <a:pt x="257" y="3522"/>
                      </a:moveTo>
                      <a:lnTo>
                        <a:pt x="257" y="3768"/>
                      </a:lnTo>
                      <a:lnTo>
                        <a:pt x="261" y="3829"/>
                      </a:lnTo>
                      <a:lnTo>
                        <a:pt x="273" y="3887"/>
                      </a:lnTo>
                      <a:lnTo>
                        <a:pt x="292" y="3944"/>
                      </a:lnTo>
                      <a:lnTo>
                        <a:pt x="318" y="3996"/>
                      </a:lnTo>
                      <a:lnTo>
                        <a:pt x="350" y="4045"/>
                      </a:lnTo>
                      <a:lnTo>
                        <a:pt x="389" y="4088"/>
                      </a:lnTo>
                      <a:lnTo>
                        <a:pt x="433" y="4126"/>
                      </a:lnTo>
                      <a:lnTo>
                        <a:pt x="481" y="4159"/>
                      </a:lnTo>
                      <a:lnTo>
                        <a:pt x="534" y="4184"/>
                      </a:lnTo>
                      <a:lnTo>
                        <a:pt x="590" y="4203"/>
                      </a:lnTo>
                      <a:lnTo>
                        <a:pt x="648" y="4216"/>
                      </a:lnTo>
                      <a:lnTo>
                        <a:pt x="709" y="4220"/>
                      </a:lnTo>
                      <a:lnTo>
                        <a:pt x="2735" y="4220"/>
                      </a:lnTo>
                      <a:lnTo>
                        <a:pt x="2796" y="4216"/>
                      </a:lnTo>
                      <a:lnTo>
                        <a:pt x="2855" y="4203"/>
                      </a:lnTo>
                      <a:lnTo>
                        <a:pt x="2911" y="4184"/>
                      </a:lnTo>
                      <a:lnTo>
                        <a:pt x="2964" y="4159"/>
                      </a:lnTo>
                      <a:lnTo>
                        <a:pt x="3011" y="4126"/>
                      </a:lnTo>
                      <a:lnTo>
                        <a:pt x="3055" y="4088"/>
                      </a:lnTo>
                      <a:lnTo>
                        <a:pt x="3094" y="4045"/>
                      </a:lnTo>
                      <a:lnTo>
                        <a:pt x="3127" y="3996"/>
                      </a:lnTo>
                      <a:lnTo>
                        <a:pt x="3153" y="3944"/>
                      </a:lnTo>
                      <a:lnTo>
                        <a:pt x="3172" y="3887"/>
                      </a:lnTo>
                      <a:lnTo>
                        <a:pt x="3184" y="3829"/>
                      </a:lnTo>
                      <a:lnTo>
                        <a:pt x="3188" y="3768"/>
                      </a:lnTo>
                      <a:lnTo>
                        <a:pt x="3188" y="3768"/>
                      </a:lnTo>
                      <a:lnTo>
                        <a:pt x="3188" y="3522"/>
                      </a:lnTo>
                      <a:lnTo>
                        <a:pt x="3134" y="3563"/>
                      </a:lnTo>
                      <a:lnTo>
                        <a:pt x="3075" y="3598"/>
                      </a:lnTo>
                      <a:lnTo>
                        <a:pt x="3013" y="3630"/>
                      </a:lnTo>
                      <a:lnTo>
                        <a:pt x="2947" y="3654"/>
                      </a:lnTo>
                      <a:lnTo>
                        <a:pt x="2878" y="3672"/>
                      </a:lnTo>
                      <a:lnTo>
                        <a:pt x="2807" y="3683"/>
                      </a:lnTo>
                      <a:lnTo>
                        <a:pt x="2735" y="3685"/>
                      </a:lnTo>
                      <a:lnTo>
                        <a:pt x="709" y="3685"/>
                      </a:lnTo>
                      <a:lnTo>
                        <a:pt x="637" y="3683"/>
                      </a:lnTo>
                      <a:lnTo>
                        <a:pt x="567" y="3672"/>
                      </a:lnTo>
                      <a:lnTo>
                        <a:pt x="497" y="3654"/>
                      </a:lnTo>
                      <a:lnTo>
                        <a:pt x="432" y="3630"/>
                      </a:lnTo>
                      <a:lnTo>
                        <a:pt x="369" y="3598"/>
                      </a:lnTo>
                      <a:lnTo>
                        <a:pt x="311" y="3563"/>
                      </a:lnTo>
                      <a:lnTo>
                        <a:pt x="257" y="3522"/>
                      </a:lnTo>
                      <a:close/>
                      <a:moveTo>
                        <a:pt x="257" y="2733"/>
                      </a:moveTo>
                      <a:lnTo>
                        <a:pt x="257" y="2977"/>
                      </a:lnTo>
                      <a:lnTo>
                        <a:pt x="261" y="3038"/>
                      </a:lnTo>
                      <a:lnTo>
                        <a:pt x="273" y="3097"/>
                      </a:lnTo>
                      <a:lnTo>
                        <a:pt x="292" y="3152"/>
                      </a:lnTo>
                      <a:lnTo>
                        <a:pt x="318" y="3205"/>
                      </a:lnTo>
                      <a:lnTo>
                        <a:pt x="350" y="3253"/>
                      </a:lnTo>
                      <a:lnTo>
                        <a:pt x="389" y="3296"/>
                      </a:lnTo>
                      <a:lnTo>
                        <a:pt x="433" y="3335"/>
                      </a:lnTo>
                      <a:lnTo>
                        <a:pt x="481" y="3368"/>
                      </a:lnTo>
                      <a:lnTo>
                        <a:pt x="534" y="3394"/>
                      </a:lnTo>
                      <a:lnTo>
                        <a:pt x="590" y="3413"/>
                      </a:lnTo>
                      <a:lnTo>
                        <a:pt x="648" y="3425"/>
                      </a:lnTo>
                      <a:lnTo>
                        <a:pt x="709" y="3429"/>
                      </a:lnTo>
                      <a:lnTo>
                        <a:pt x="2735" y="3429"/>
                      </a:lnTo>
                      <a:lnTo>
                        <a:pt x="2796" y="3425"/>
                      </a:lnTo>
                      <a:lnTo>
                        <a:pt x="2855" y="3413"/>
                      </a:lnTo>
                      <a:lnTo>
                        <a:pt x="2911" y="3394"/>
                      </a:lnTo>
                      <a:lnTo>
                        <a:pt x="2964" y="3368"/>
                      </a:lnTo>
                      <a:lnTo>
                        <a:pt x="3011" y="3335"/>
                      </a:lnTo>
                      <a:lnTo>
                        <a:pt x="3055" y="3296"/>
                      </a:lnTo>
                      <a:lnTo>
                        <a:pt x="3094" y="3253"/>
                      </a:lnTo>
                      <a:lnTo>
                        <a:pt x="3127" y="3205"/>
                      </a:lnTo>
                      <a:lnTo>
                        <a:pt x="3153" y="3152"/>
                      </a:lnTo>
                      <a:lnTo>
                        <a:pt x="3172" y="3097"/>
                      </a:lnTo>
                      <a:lnTo>
                        <a:pt x="3184" y="3038"/>
                      </a:lnTo>
                      <a:lnTo>
                        <a:pt x="3188" y="2977"/>
                      </a:lnTo>
                      <a:lnTo>
                        <a:pt x="3188" y="2977"/>
                      </a:lnTo>
                      <a:lnTo>
                        <a:pt x="3188" y="2733"/>
                      </a:lnTo>
                      <a:lnTo>
                        <a:pt x="3134" y="2774"/>
                      </a:lnTo>
                      <a:lnTo>
                        <a:pt x="3075" y="2810"/>
                      </a:lnTo>
                      <a:lnTo>
                        <a:pt x="3013" y="2840"/>
                      </a:lnTo>
                      <a:lnTo>
                        <a:pt x="2947" y="2865"/>
                      </a:lnTo>
                      <a:lnTo>
                        <a:pt x="2878" y="2882"/>
                      </a:lnTo>
                      <a:lnTo>
                        <a:pt x="2807" y="2893"/>
                      </a:lnTo>
                      <a:lnTo>
                        <a:pt x="2735" y="2897"/>
                      </a:lnTo>
                      <a:lnTo>
                        <a:pt x="709" y="2897"/>
                      </a:lnTo>
                      <a:lnTo>
                        <a:pt x="637" y="2893"/>
                      </a:lnTo>
                      <a:lnTo>
                        <a:pt x="567" y="2882"/>
                      </a:lnTo>
                      <a:lnTo>
                        <a:pt x="497" y="2865"/>
                      </a:lnTo>
                      <a:lnTo>
                        <a:pt x="432" y="2840"/>
                      </a:lnTo>
                      <a:lnTo>
                        <a:pt x="369" y="2810"/>
                      </a:lnTo>
                      <a:lnTo>
                        <a:pt x="311" y="2774"/>
                      </a:lnTo>
                      <a:lnTo>
                        <a:pt x="257" y="2733"/>
                      </a:lnTo>
                      <a:close/>
                      <a:moveTo>
                        <a:pt x="257" y="1945"/>
                      </a:moveTo>
                      <a:lnTo>
                        <a:pt x="257" y="2186"/>
                      </a:lnTo>
                      <a:lnTo>
                        <a:pt x="261" y="2247"/>
                      </a:lnTo>
                      <a:lnTo>
                        <a:pt x="273" y="2307"/>
                      </a:lnTo>
                      <a:lnTo>
                        <a:pt x="292" y="2363"/>
                      </a:lnTo>
                      <a:lnTo>
                        <a:pt x="318" y="2414"/>
                      </a:lnTo>
                      <a:lnTo>
                        <a:pt x="350" y="2463"/>
                      </a:lnTo>
                      <a:lnTo>
                        <a:pt x="389" y="2507"/>
                      </a:lnTo>
                      <a:lnTo>
                        <a:pt x="433" y="2545"/>
                      </a:lnTo>
                      <a:lnTo>
                        <a:pt x="481" y="2577"/>
                      </a:lnTo>
                      <a:lnTo>
                        <a:pt x="534" y="2603"/>
                      </a:lnTo>
                      <a:lnTo>
                        <a:pt x="590" y="2623"/>
                      </a:lnTo>
                      <a:lnTo>
                        <a:pt x="648" y="2635"/>
                      </a:lnTo>
                      <a:lnTo>
                        <a:pt x="709" y="2639"/>
                      </a:lnTo>
                      <a:lnTo>
                        <a:pt x="2735" y="2639"/>
                      </a:lnTo>
                      <a:lnTo>
                        <a:pt x="2796" y="2635"/>
                      </a:lnTo>
                      <a:lnTo>
                        <a:pt x="2855" y="2623"/>
                      </a:lnTo>
                      <a:lnTo>
                        <a:pt x="2911" y="2603"/>
                      </a:lnTo>
                      <a:lnTo>
                        <a:pt x="2964" y="2577"/>
                      </a:lnTo>
                      <a:lnTo>
                        <a:pt x="3011" y="2545"/>
                      </a:lnTo>
                      <a:lnTo>
                        <a:pt x="3055" y="2507"/>
                      </a:lnTo>
                      <a:lnTo>
                        <a:pt x="3094" y="2463"/>
                      </a:lnTo>
                      <a:lnTo>
                        <a:pt x="3127" y="2414"/>
                      </a:lnTo>
                      <a:lnTo>
                        <a:pt x="3153" y="2363"/>
                      </a:lnTo>
                      <a:lnTo>
                        <a:pt x="3172" y="2307"/>
                      </a:lnTo>
                      <a:lnTo>
                        <a:pt x="3184" y="2247"/>
                      </a:lnTo>
                      <a:lnTo>
                        <a:pt x="3188" y="2186"/>
                      </a:lnTo>
                      <a:lnTo>
                        <a:pt x="3188" y="2186"/>
                      </a:lnTo>
                      <a:lnTo>
                        <a:pt x="3188" y="1945"/>
                      </a:lnTo>
                      <a:lnTo>
                        <a:pt x="3134" y="1986"/>
                      </a:lnTo>
                      <a:lnTo>
                        <a:pt x="3075" y="2022"/>
                      </a:lnTo>
                      <a:lnTo>
                        <a:pt x="3013" y="2052"/>
                      </a:lnTo>
                      <a:lnTo>
                        <a:pt x="2947" y="2077"/>
                      </a:lnTo>
                      <a:lnTo>
                        <a:pt x="2878" y="2094"/>
                      </a:lnTo>
                      <a:lnTo>
                        <a:pt x="2807" y="2105"/>
                      </a:lnTo>
                      <a:lnTo>
                        <a:pt x="2735" y="2109"/>
                      </a:lnTo>
                      <a:lnTo>
                        <a:pt x="709" y="2109"/>
                      </a:lnTo>
                      <a:lnTo>
                        <a:pt x="637" y="2105"/>
                      </a:lnTo>
                      <a:lnTo>
                        <a:pt x="567" y="2094"/>
                      </a:lnTo>
                      <a:lnTo>
                        <a:pt x="497" y="2077"/>
                      </a:lnTo>
                      <a:lnTo>
                        <a:pt x="432" y="2052"/>
                      </a:lnTo>
                      <a:lnTo>
                        <a:pt x="369" y="2022"/>
                      </a:lnTo>
                      <a:lnTo>
                        <a:pt x="311" y="1986"/>
                      </a:lnTo>
                      <a:lnTo>
                        <a:pt x="257" y="1945"/>
                      </a:lnTo>
                      <a:close/>
                      <a:moveTo>
                        <a:pt x="1721" y="288"/>
                      </a:moveTo>
                      <a:lnTo>
                        <a:pt x="1627" y="290"/>
                      </a:lnTo>
                      <a:lnTo>
                        <a:pt x="1533" y="298"/>
                      </a:lnTo>
                      <a:lnTo>
                        <a:pt x="1442" y="312"/>
                      </a:lnTo>
                      <a:lnTo>
                        <a:pt x="1352" y="330"/>
                      </a:lnTo>
                      <a:lnTo>
                        <a:pt x="1265" y="354"/>
                      </a:lnTo>
                      <a:lnTo>
                        <a:pt x="1183" y="382"/>
                      </a:lnTo>
                      <a:lnTo>
                        <a:pt x="1102" y="415"/>
                      </a:lnTo>
                      <a:lnTo>
                        <a:pt x="1028" y="453"/>
                      </a:lnTo>
                      <a:lnTo>
                        <a:pt x="957" y="495"/>
                      </a:lnTo>
                      <a:lnTo>
                        <a:pt x="892" y="541"/>
                      </a:lnTo>
                      <a:lnTo>
                        <a:pt x="834" y="589"/>
                      </a:lnTo>
                      <a:lnTo>
                        <a:pt x="783" y="640"/>
                      </a:lnTo>
                      <a:lnTo>
                        <a:pt x="738" y="693"/>
                      </a:lnTo>
                      <a:lnTo>
                        <a:pt x="699" y="749"/>
                      </a:lnTo>
                      <a:lnTo>
                        <a:pt x="667" y="807"/>
                      </a:lnTo>
                      <a:lnTo>
                        <a:pt x="643" y="867"/>
                      </a:lnTo>
                      <a:lnTo>
                        <a:pt x="624" y="928"/>
                      </a:lnTo>
                      <a:lnTo>
                        <a:pt x="613" y="990"/>
                      </a:lnTo>
                      <a:lnTo>
                        <a:pt x="610" y="1055"/>
                      </a:lnTo>
                      <a:lnTo>
                        <a:pt x="613" y="1119"/>
                      </a:lnTo>
                      <a:lnTo>
                        <a:pt x="624" y="1181"/>
                      </a:lnTo>
                      <a:lnTo>
                        <a:pt x="643" y="1244"/>
                      </a:lnTo>
                      <a:lnTo>
                        <a:pt x="667" y="1303"/>
                      </a:lnTo>
                      <a:lnTo>
                        <a:pt x="699" y="1360"/>
                      </a:lnTo>
                      <a:lnTo>
                        <a:pt x="738" y="1416"/>
                      </a:lnTo>
                      <a:lnTo>
                        <a:pt x="783" y="1470"/>
                      </a:lnTo>
                      <a:lnTo>
                        <a:pt x="834" y="1520"/>
                      </a:lnTo>
                      <a:lnTo>
                        <a:pt x="892" y="1569"/>
                      </a:lnTo>
                      <a:lnTo>
                        <a:pt x="957" y="1614"/>
                      </a:lnTo>
                      <a:lnTo>
                        <a:pt x="1028" y="1656"/>
                      </a:lnTo>
                      <a:lnTo>
                        <a:pt x="1102" y="1694"/>
                      </a:lnTo>
                      <a:lnTo>
                        <a:pt x="1183" y="1728"/>
                      </a:lnTo>
                      <a:lnTo>
                        <a:pt x="1265" y="1756"/>
                      </a:lnTo>
                      <a:lnTo>
                        <a:pt x="1352" y="1780"/>
                      </a:lnTo>
                      <a:lnTo>
                        <a:pt x="1442" y="1799"/>
                      </a:lnTo>
                      <a:lnTo>
                        <a:pt x="1533" y="1811"/>
                      </a:lnTo>
                      <a:lnTo>
                        <a:pt x="1627" y="1819"/>
                      </a:lnTo>
                      <a:lnTo>
                        <a:pt x="1721" y="1822"/>
                      </a:lnTo>
                      <a:lnTo>
                        <a:pt x="1817" y="1819"/>
                      </a:lnTo>
                      <a:lnTo>
                        <a:pt x="1911" y="1811"/>
                      </a:lnTo>
                      <a:lnTo>
                        <a:pt x="2002" y="1799"/>
                      </a:lnTo>
                      <a:lnTo>
                        <a:pt x="2092" y="1780"/>
                      </a:lnTo>
                      <a:lnTo>
                        <a:pt x="2179" y="1756"/>
                      </a:lnTo>
                      <a:lnTo>
                        <a:pt x="2262" y="1728"/>
                      </a:lnTo>
                      <a:lnTo>
                        <a:pt x="2341" y="1694"/>
                      </a:lnTo>
                      <a:lnTo>
                        <a:pt x="2417" y="1656"/>
                      </a:lnTo>
                      <a:lnTo>
                        <a:pt x="2488" y="1614"/>
                      </a:lnTo>
                      <a:lnTo>
                        <a:pt x="2553" y="1569"/>
                      </a:lnTo>
                      <a:lnTo>
                        <a:pt x="2610" y="1520"/>
                      </a:lnTo>
                      <a:lnTo>
                        <a:pt x="2662" y="1470"/>
                      </a:lnTo>
                      <a:lnTo>
                        <a:pt x="2707" y="1416"/>
                      </a:lnTo>
                      <a:lnTo>
                        <a:pt x="2746" y="1360"/>
                      </a:lnTo>
                      <a:lnTo>
                        <a:pt x="2777" y="1303"/>
                      </a:lnTo>
                      <a:lnTo>
                        <a:pt x="2802" y="1244"/>
                      </a:lnTo>
                      <a:lnTo>
                        <a:pt x="2821" y="1181"/>
                      </a:lnTo>
                      <a:lnTo>
                        <a:pt x="2832" y="1119"/>
                      </a:lnTo>
                      <a:lnTo>
                        <a:pt x="2835" y="1055"/>
                      </a:lnTo>
                      <a:lnTo>
                        <a:pt x="2832" y="990"/>
                      </a:lnTo>
                      <a:lnTo>
                        <a:pt x="2821" y="928"/>
                      </a:lnTo>
                      <a:lnTo>
                        <a:pt x="2802" y="867"/>
                      </a:lnTo>
                      <a:lnTo>
                        <a:pt x="2777" y="807"/>
                      </a:lnTo>
                      <a:lnTo>
                        <a:pt x="2746" y="749"/>
                      </a:lnTo>
                      <a:lnTo>
                        <a:pt x="2707" y="693"/>
                      </a:lnTo>
                      <a:lnTo>
                        <a:pt x="2662" y="640"/>
                      </a:lnTo>
                      <a:lnTo>
                        <a:pt x="2610" y="589"/>
                      </a:lnTo>
                      <a:lnTo>
                        <a:pt x="2553" y="541"/>
                      </a:lnTo>
                      <a:lnTo>
                        <a:pt x="2488" y="495"/>
                      </a:lnTo>
                      <a:lnTo>
                        <a:pt x="2417" y="453"/>
                      </a:lnTo>
                      <a:lnTo>
                        <a:pt x="2341" y="415"/>
                      </a:lnTo>
                      <a:lnTo>
                        <a:pt x="2262" y="382"/>
                      </a:lnTo>
                      <a:lnTo>
                        <a:pt x="2179" y="354"/>
                      </a:lnTo>
                      <a:lnTo>
                        <a:pt x="2092" y="330"/>
                      </a:lnTo>
                      <a:lnTo>
                        <a:pt x="2002" y="312"/>
                      </a:lnTo>
                      <a:lnTo>
                        <a:pt x="1911" y="298"/>
                      </a:lnTo>
                      <a:lnTo>
                        <a:pt x="1817" y="290"/>
                      </a:lnTo>
                      <a:lnTo>
                        <a:pt x="1721" y="288"/>
                      </a:lnTo>
                      <a:close/>
                      <a:moveTo>
                        <a:pt x="709" y="0"/>
                      </a:moveTo>
                      <a:lnTo>
                        <a:pt x="2735" y="0"/>
                      </a:lnTo>
                      <a:lnTo>
                        <a:pt x="2811" y="4"/>
                      </a:lnTo>
                      <a:lnTo>
                        <a:pt x="2888" y="16"/>
                      </a:lnTo>
                      <a:lnTo>
                        <a:pt x="2960" y="37"/>
                      </a:lnTo>
                      <a:lnTo>
                        <a:pt x="3028" y="64"/>
                      </a:lnTo>
                      <a:lnTo>
                        <a:pt x="3093" y="96"/>
                      </a:lnTo>
                      <a:lnTo>
                        <a:pt x="3154" y="137"/>
                      </a:lnTo>
                      <a:lnTo>
                        <a:pt x="3210" y="183"/>
                      </a:lnTo>
                      <a:lnTo>
                        <a:pt x="3261" y="235"/>
                      </a:lnTo>
                      <a:lnTo>
                        <a:pt x="3308" y="290"/>
                      </a:lnTo>
                      <a:lnTo>
                        <a:pt x="3347" y="351"/>
                      </a:lnTo>
                      <a:lnTo>
                        <a:pt x="3381" y="416"/>
                      </a:lnTo>
                      <a:lnTo>
                        <a:pt x="3408" y="484"/>
                      </a:lnTo>
                      <a:lnTo>
                        <a:pt x="3429" y="556"/>
                      </a:lnTo>
                      <a:lnTo>
                        <a:pt x="3441" y="631"/>
                      </a:lnTo>
                      <a:lnTo>
                        <a:pt x="3445" y="708"/>
                      </a:lnTo>
                      <a:lnTo>
                        <a:pt x="3445" y="3768"/>
                      </a:lnTo>
                      <a:lnTo>
                        <a:pt x="3441" y="3845"/>
                      </a:lnTo>
                      <a:lnTo>
                        <a:pt x="3429" y="3920"/>
                      </a:lnTo>
                      <a:lnTo>
                        <a:pt x="3408" y="3992"/>
                      </a:lnTo>
                      <a:lnTo>
                        <a:pt x="3381" y="4060"/>
                      </a:lnTo>
                      <a:lnTo>
                        <a:pt x="3347" y="4125"/>
                      </a:lnTo>
                      <a:lnTo>
                        <a:pt x="3308" y="4186"/>
                      </a:lnTo>
                      <a:lnTo>
                        <a:pt x="3261" y="4241"/>
                      </a:lnTo>
                      <a:lnTo>
                        <a:pt x="3210" y="4293"/>
                      </a:lnTo>
                      <a:lnTo>
                        <a:pt x="3154" y="4339"/>
                      </a:lnTo>
                      <a:lnTo>
                        <a:pt x="3093" y="4380"/>
                      </a:lnTo>
                      <a:lnTo>
                        <a:pt x="3028" y="4412"/>
                      </a:lnTo>
                      <a:lnTo>
                        <a:pt x="2958" y="4439"/>
                      </a:lnTo>
                      <a:lnTo>
                        <a:pt x="2886" y="4460"/>
                      </a:lnTo>
                      <a:lnTo>
                        <a:pt x="2811" y="4472"/>
                      </a:lnTo>
                      <a:lnTo>
                        <a:pt x="2735" y="4476"/>
                      </a:lnTo>
                      <a:lnTo>
                        <a:pt x="709" y="4476"/>
                      </a:lnTo>
                      <a:lnTo>
                        <a:pt x="632" y="4472"/>
                      </a:lnTo>
                      <a:lnTo>
                        <a:pt x="557" y="4460"/>
                      </a:lnTo>
                      <a:lnTo>
                        <a:pt x="485" y="4439"/>
                      </a:lnTo>
                      <a:lnTo>
                        <a:pt x="417" y="4412"/>
                      </a:lnTo>
                      <a:lnTo>
                        <a:pt x="352" y="4380"/>
                      </a:lnTo>
                      <a:lnTo>
                        <a:pt x="291" y="4339"/>
                      </a:lnTo>
                      <a:lnTo>
                        <a:pt x="235" y="4293"/>
                      </a:lnTo>
                      <a:lnTo>
                        <a:pt x="183" y="4241"/>
                      </a:lnTo>
                      <a:lnTo>
                        <a:pt x="137" y="4186"/>
                      </a:lnTo>
                      <a:lnTo>
                        <a:pt x="96" y="4125"/>
                      </a:lnTo>
                      <a:lnTo>
                        <a:pt x="64" y="4060"/>
                      </a:lnTo>
                      <a:lnTo>
                        <a:pt x="36" y="3992"/>
                      </a:lnTo>
                      <a:lnTo>
                        <a:pt x="16" y="3920"/>
                      </a:lnTo>
                      <a:lnTo>
                        <a:pt x="4" y="3845"/>
                      </a:lnTo>
                      <a:lnTo>
                        <a:pt x="0" y="3768"/>
                      </a:lnTo>
                      <a:lnTo>
                        <a:pt x="0" y="708"/>
                      </a:lnTo>
                      <a:lnTo>
                        <a:pt x="4" y="631"/>
                      </a:lnTo>
                      <a:lnTo>
                        <a:pt x="16" y="556"/>
                      </a:lnTo>
                      <a:lnTo>
                        <a:pt x="36" y="484"/>
                      </a:lnTo>
                      <a:lnTo>
                        <a:pt x="64" y="416"/>
                      </a:lnTo>
                      <a:lnTo>
                        <a:pt x="96" y="351"/>
                      </a:lnTo>
                      <a:lnTo>
                        <a:pt x="137" y="290"/>
                      </a:lnTo>
                      <a:lnTo>
                        <a:pt x="183" y="235"/>
                      </a:lnTo>
                      <a:lnTo>
                        <a:pt x="235" y="183"/>
                      </a:lnTo>
                      <a:lnTo>
                        <a:pt x="291" y="137"/>
                      </a:lnTo>
                      <a:lnTo>
                        <a:pt x="352" y="96"/>
                      </a:lnTo>
                      <a:lnTo>
                        <a:pt x="417" y="64"/>
                      </a:lnTo>
                      <a:lnTo>
                        <a:pt x="485" y="37"/>
                      </a:lnTo>
                      <a:lnTo>
                        <a:pt x="557" y="16"/>
                      </a:lnTo>
                      <a:lnTo>
                        <a:pt x="632" y="4"/>
                      </a:lnTo>
                      <a:lnTo>
                        <a:pt x="7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/>
                </a:p>
              </p:txBody>
            </p:sp>
            <p:sp>
              <p:nvSpPr>
                <p:cNvPr id="146" name="Freeform 110"/>
                <p:cNvSpPr>
                  <a:spLocks/>
                </p:cNvSpPr>
                <p:nvPr/>
              </p:nvSpPr>
              <p:spPr bwMode="auto">
                <a:xfrm>
                  <a:off x="6752" y="597"/>
                  <a:ext cx="394" cy="256"/>
                </a:xfrm>
                <a:custGeom>
                  <a:avLst/>
                  <a:gdLst>
                    <a:gd name="T0" fmla="*/ 393 w 789"/>
                    <a:gd name="T1" fmla="*/ 0 h 511"/>
                    <a:gd name="T2" fmla="*/ 453 w 789"/>
                    <a:gd name="T3" fmla="*/ 3 h 511"/>
                    <a:gd name="T4" fmla="*/ 509 w 789"/>
                    <a:gd name="T5" fmla="*/ 11 h 511"/>
                    <a:gd name="T6" fmla="*/ 560 w 789"/>
                    <a:gd name="T7" fmla="*/ 24 h 511"/>
                    <a:gd name="T8" fmla="*/ 609 w 789"/>
                    <a:gd name="T9" fmla="*/ 42 h 511"/>
                    <a:gd name="T10" fmla="*/ 653 w 789"/>
                    <a:gd name="T11" fmla="*/ 62 h 511"/>
                    <a:gd name="T12" fmla="*/ 691 w 789"/>
                    <a:gd name="T13" fmla="*/ 88 h 511"/>
                    <a:gd name="T14" fmla="*/ 725 w 789"/>
                    <a:gd name="T15" fmla="*/ 117 h 511"/>
                    <a:gd name="T16" fmla="*/ 752 w 789"/>
                    <a:gd name="T17" fmla="*/ 148 h 511"/>
                    <a:gd name="T18" fmla="*/ 771 w 789"/>
                    <a:gd name="T19" fmla="*/ 182 h 511"/>
                    <a:gd name="T20" fmla="*/ 783 w 789"/>
                    <a:gd name="T21" fmla="*/ 218 h 511"/>
                    <a:gd name="T22" fmla="*/ 789 w 789"/>
                    <a:gd name="T23" fmla="*/ 256 h 511"/>
                    <a:gd name="T24" fmla="*/ 783 w 789"/>
                    <a:gd name="T25" fmla="*/ 294 h 511"/>
                    <a:gd name="T26" fmla="*/ 771 w 789"/>
                    <a:gd name="T27" fmla="*/ 329 h 511"/>
                    <a:gd name="T28" fmla="*/ 752 w 789"/>
                    <a:gd name="T29" fmla="*/ 363 h 511"/>
                    <a:gd name="T30" fmla="*/ 725 w 789"/>
                    <a:gd name="T31" fmla="*/ 395 h 511"/>
                    <a:gd name="T32" fmla="*/ 691 w 789"/>
                    <a:gd name="T33" fmla="*/ 423 h 511"/>
                    <a:gd name="T34" fmla="*/ 653 w 789"/>
                    <a:gd name="T35" fmla="*/ 449 h 511"/>
                    <a:gd name="T36" fmla="*/ 609 w 789"/>
                    <a:gd name="T37" fmla="*/ 471 h 511"/>
                    <a:gd name="T38" fmla="*/ 560 w 789"/>
                    <a:gd name="T39" fmla="*/ 488 h 511"/>
                    <a:gd name="T40" fmla="*/ 509 w 789"/>
                    <a:gd name="T41" fmla="*/ 500 h 511"/>
                    <a:gd name="T42" fmla="*/ 453 w 789"/>
                    <a:gd name="T43" fmla="*/ 509 h 511"/>
                    <a:gd name="T44" fmla="*/ 393 w 789"/>
                    <a:gd name="T45" fmla="*/ 511 h 511"/>
                    <a:gd name="T46" fmla="*/ 336 w 789"/>
                    <a:gd name="T47" fmla="*/ 509 h 511"/>
                    <a:gd name="T48" fmla="*/ 280 w 789"/>
                    <a:gd name="T49" fmla="*/ 500 h 511"/>
                    <a:gd name="T50" fmla="*/ 228 w 789"/>
                    <a:gd name="T51" fmla="*/ 488 h 511"/>
                    <a:gd name="T52" fmla="*/ 179 w 789"/>
                    <a:gd name="T53" fmla="*/ 471 h 511"/>
                    <a:gd name="T54" fmla="*/ 136 w 789"/>
                    <a:gd name="T55" fmla="*/ 449 h 511"/>
                    <a:gd name="T56" fmla="*/ 97 w 789"/>
                    <a:gd name="T57" fmla="*/ 423 h 511"/>
                    <a:gd name="T58" fmla="*/ 64 w 789"/>
                    <a:gd name="T59" fmla="*/ 395 h 511"/>
                    <a:gd name="T60" fmla="*/ 37 w 789"/>
                    <a:gd name="T61" fmla="*/ 363 h 511"/>
                    <a:gd name="T62" fmla="*/ 18 w 789"/>
                    <a:gd name="T63" fmla="*/ 329 h 511"/>
                    <a:gd name="T64" fmla="*/ 4 w 789"/>
                    <a:gd name="T65" fmla="*/ 294 h 511"/>
                    <a:gd name="T66" fmla="*/ 0 w 789"/>
                    <a:gd name="T67" fmla="*/ 256 h 511"/>
                    <a:gd name="T68" fmla="*/ 4 w 789"/>
                    <a:gd name="T69" fmla="*/ 218 h 511"/>
                    <a:gd name="T70" fmla="*/ 18 w 789"/>
                    <a:gd name="T71" fmla="*/ 182 h 511"/>
                    <a:gd name="T72" fmla="*/ 37 w 789"/>
                    <a:gd name="T73" fmla="*/ 148 h 511"/>
                    <a:gd name="T74" fmla="*/ 64 w 789"/>
                    <a:gd name="T75" fmla="*/ 117 h 511"/>
                    <a:gd name="T76" fmla="*/ 97 w 789"/>
                    <a:gd name="T77" fmla="*/ 88 h 511"/>
                    <a:gd name="T78" fmla="*/ 136 w 789"/>
                    <a:gd name="T79" fmla="*/ 62 h 511"/>
                    <a:gd name="T80" fmla="*/ 179 w 789"/>
                    <a:gd name="T81" fmla="*/ 42 h 511"/>
                    <a:gd name="T82" fmla="*/ 228 w 789"/>
                    <a:gd name="T83" fmla="*/ 24 h 511"/>
                    <a:gd name="T84" fmla="*/ 280 w 789"/>
                    <a:gd name="T85" fmla="*/ 11 h 511"/>
                    <a:gd name="T86" fmla="*/ 336 w 789"/>
                    <a:gd name="T87" fmla="*/ 3 h 511"/>
                    <a:gd name="T88" fmla="*/ 393 w 789"/>
                    <a:gd name="T89" fmla="*/ 0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89" h="511">
                      <a:moveTo>
                        <a:pt x="393" y="0"/>
                      </a:moveTo>
                      <a:lnTo>
                        <a:pt x="453" y="3"/>
                      </a:lnTo>
                      <a:lnTo>
                        <a:pt x="509" y="11"/>
                      </a:lnTo>
                      <a:lnTo>
                        <a:pt x="560" y="24"/>
                      </a:lnTo>
                      <a:lnTo>
                        <a:pt x="609" y="42"/>
                      </a:lnTo>
                      <a:lnTo>
                        <a:pt x="653" y="62"/>
                      </a:lnTo>
                      <a:lnTo>
                        <a:pt x="691" y="88"/>
                      </a:lnTo>
                      <a:lnTo>
                        <a:pt x="725" y="117"/>
                      </a:lnTo>
                      <a:lnTo>
                        <a:pt x="752" y="148"/>
                      </a:lnTo>
                      <a:lnTo>
                        <a:pt x="771" y="182"/>
                      </a:lnTo>
                      <a:lnTo>
                        <a:pt x="783" y="218"/>
                      </a:lnTo>
                      <a:lnTo>
                        <a:pt x="789" y="256"/>
                      </a:lnTo>
                      <a:lnTo>
                        <a:pt x="783" y="294"/>
                      </a:lnTo>
                      <a:lnTo>
                        <a:pt x="771" y="329"/>
                      </a:lnTo>
                      <a:lnTo>
                        <a:pt x="752" y="363"/>
                      </a:lnTo>
                      <a:lnTo>
                        <a:pt x="725" y="395"/>
                      </a:lnTo>
                      <a:lnTo>
                        <a:pt x="691" y="423"/>
                      </a:lnTo>
                      <a:lnTo>
                        <a:pt x="653" y="449"/>
                      </a:lnTo>
                      <a:lnTo>
                        <a:pt x="609" y="471"/>
                      </a:lnTo>
                      <a:lnTo>
                        <a:pt x="560" y="488"/>
                      </a:lnTo>
                      <a:lnTo>
                        <a:pt x="509" y="500"/>
                      </a:lnTo>
                      <a:lnTo>
                        <a:pt x="453" y="509"/>
                      </a:lnTo>
                      <a:lnTo>
                        <a:pt x="393" y="511"/>
                      </a:lnTo>
                      <a:lnTo>
                        <a:pt x="336" y="509"/>
                      </a:lnTo>
                      <a:lnTo>
                        <a:pt x="280" y="500"/>
                      </a:lnTo>
                      <a:lnTo>
                        <a:pt x="228" y="488"/>
                      </a:lnTo>
                      <a:lnTo>
                        <a:pt x="179" y="471"/>
                      </a:lnTo>
                      <a:lnTo>
                        <a:pt x="136" y="449"/>
                      </a:lnTo>
                      <a:lnTo>
                        <a:pt x="97" y="423"/>
                      </a:lnTo>
                      <a:lnTo>
                        <a:pt x="64" y="395"/>
                      </a:lnTo>
                      <a:lnTo>
                        <a:pt x="37" y="363"/>
                      </a:lnTo>
                      <a:lnTo>
                        <a:pt x="18" y="329"/>
                      </a:lnTo>
                      <a:lnTo>
                        <a:pt x="4" y="294"/>
                      </a:lnTo>
                      <a:lnTo>
                        <a:pt x="0" y="256"/>
                      </a:lnTo>
                      <a:lnTo>
                        <a:pt x="4" y="218"/>
                      </a:lnTo>
                      <a:lnTo>
                        <a:pt x="18" y="182"/>
                      </a:lnTo>
                      <a:lnTo>
                        <a:pt x="37" y="148"/>
                      </a:lnTo>
                      <a:lnTo>
                        <a:pt x="64" y="117"/>
                      </a:lnTo>
                      <a:lnTo>
                        <a:pt x="97" y="88"/>
                      </a:lnTo>
                      <a:lnTo>
                        <a:pt x="136" y="62"/>
                      </a:lnTo>
                      <a:lnTo>
                        <a:pt x="179" y="42"/>
                      </a:lnTo>
                      <a:lnTo>
                        <a:pt x="228" y="24"/>
                      </a:lnTo>
                      <a:lnTo>
                        <a:pt x="280" y="11"/>
                      </a:lnTo>
                      <a:lnTo>
                        <a:pt x="336" y="3"/>
                      </a:lnTo>
                      <a:lnTo>
                        <a:pt x="39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/>
                </a:p>
              </p:txBody>
            </p:sp>
          </p:grpSp>
        </p:grpSp>
        <p:sp>
          <p:nvSpPr>
            <p:cNvPr id="149" name="Freeform 148"/>
            <p:cNvSpPr/>
            <p:nvPr/>
          </p:nvSpPr>
          <p:spPr bwMode="ltGray">
            <a:xfrm>
              <a:off x="4084657" y="3437624"/>
              <a:ext cx="436317" cy="433097"/>
            </a:xfrm>
            <a:custGeom>
              <a:avLst/>
              <a:gdLst>
                <a:gd name="connsiteX0" fmla="*/ 495300 w 645319"/>
                <a:gd name="connsiteY0" fmla="*/ 0 h 640556"/>
                <a:gd name="connsiteX1" fmla="*/ 645319 w 645319"/>
                <a:gd name="connsiteY1" fmla="*/ 59531 h 640556"/>
                <a:gd name="connsiteX2" fmla="*/ 645319 w 645319"/>
                <a:gd name="connsiteY2" fmla="*/ 583406 h 640556"/>
                <a:gd name="connsiteX3" fmla="*/ 473869 w 645319"/>
                <a:gd name="connsiteY3" fmla="*/ 640556 h 640556"/>
                <a:gd name="connsiteX4" fmla="*/ 228600 w 645319"/>
                <a:gd name="connsiteY4" fmla="*/ 383381 h 640556"/>
                <a:gd name="connsiteX5" fmla="*/ 59532 w 645319"/>
                <a:gd name="connsiteY5" fmla="*/ 509588 h 640556"/>
                <a:gd name="connsiteX6" fmla="*/ 0 w 645319"/>
                <a:gd name="connsiteY6" fmla="*/ 483394 h 640556"/>
                <a:gd name="connsiteX7" fmla="*/ 2382 w 645319"/>
                <a:gd name="connsiteY7" fmla="*/ 157163 h 640556"/>
                <a:gd name="connsiteX8" fmla="*/ 61913 w 645319"/>
                <a:gd name="connsiteY8" fmla="*/ 126206 h 640556"/>
                <a:gd name="connsiteX9" fmla="*/ 230982 w 645319"/>
                <a:gd name="connsiteY9" fmla="*/ 257175 h 640556"/>
                <a:gd name="connsiteX10" fmla="*/ 495300 w 645319"/>
                <a:gd name="connsiteY10" fmla="*/ 0 h 640556"/>
                <a:gd name="connsiteX11" fmla="*/ 489052 w 645319"/>
                <a:gd name="connsiteY11" fmla="*/ 180975 h 640556"/>
                <a:gd name="connsiteX12" fmla="*/ 310458 w 645319"/>
                <a:gd name="connsiteY12" fmla="*/ 319088 h 640556"/>
                <a:gd name="connsiteX13" fmla="*/ 484289 w 645319"/>
                <a:gd name="connsiteY13" fmla="*/ 454819 h 640556"/>
                <a:gd name="connsiteX14" fmla="*/ 489052 w 645319"/>
                <a:gd name="connsiteY14" fmla="*/ 180975 h 640556"/>
                <a:gd name="connsiteX15" fmla="*/ 53283 w 645319"/>
                <a:gd name="connsiteY15" fmla="*/ 223838 h 640556"/>
                <a:gd name="connsiteX16" fmla="*/ 58046 w 645319"/>
                <a:gd name="connsiteY16" fmla="*/ 423863 h 640556"/>
                <a:gd name="connsiteX17" fmla="*/ 162821 w 645319"/>
                <a:gd name="connsiteY17" fmla="*/ 321469 h 640556"/>
                <a:gd name="connsiteX18" fmla="*/ 53283 w 645319"/>
                <a:gd name="connsiteY18" fmla="*/ 223838 h 640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45319" h="640556">
                  <a:moveTo>
                    <a:pt x="495300" y="0"/>
                  </a:moveTo>
                  <a:lnTo>
                    <a:pt x="645319" y="59531"/>
                  </a:lnTo>
                  <a:lnTo>
                    <a:pt x="645319" y="583406"/>
                  </a:lnTo>
                  <a:lnTo>
                    <a:pt x="473869" y="640556"/>
                  </a:lnTo>
                  <a:lnTo>
                    <a:pt x="228600" y="383381"/>
                  </a:lnTo>
                  <a:lnTo>
                    <a:pt x="59532" y="509588"/>
                  </a:lnTo>
                  <a:lnTo>
                    <a:pt x="0" y="483394"/>
                  </a:lnTo>
                  <a:lnTo>
                    <a:pt x="2382" y="157163"/>
                  </a:lnTo>
                  <a:lnTo>
                    <a:pt x="61913" y="126206"/>
                  </a:lnTo>
                  <a:lnTo>
                    <a:pt x="230982" y="257175"/>
                  </a:lnTo>
                  <a:lnTo>
                    <a:pt x="495300" y="0"/>
                  </a:lnTo>
                  <a:close/>
                  <a:moveTo>
                    <a:pt x="489052" y="180975"/>
                  </a:moveTo>
                  <a:lnTo>
                    <a:pt x="310458" y="319088"/>
                  </a:lnTo>
                  <a:lnTo>
                    <a:pt x="484289" y="454819"/>
                  </a:lnTo>
                  <a:cubicBezTo>
                    <a:pt x="485877" y="363538"/>
                    <a:pt x="487464" y="272256"/>
                    <a:pt x="489052" y="180975"/>
                  </a:cubicBezTo>
                  <a:close/>
                  <a:moveTo>
                    <a:pt x="53283" y="223838"/>
                  </a:moveTo>
                  <a:lnTo>
                    <a:pt x="58046" y="423863"/>
                  </a:lnTo>
                  <a:lnTo>
                    <a:pt x="162821" y="321469"/>
                  </a:lnTo>
                  <a:lnTo>
                    <a:pt x="53283" y="223838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41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Optymalny scenariusz sieci logistycznej jest finalnie testowany poprzez jego dynamiczną symulację w narzędziu </a:t>
            </a:r>
            <a:r>
              <a:rPr lang="pl-PL" dirty="0" err="1" smtClean="0"/>
              <a:t>Anylogic</a:t>
            </a:r>
            <a:endParaRPr lang="pl-PL" dirty="0"/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1475158559"/>
              </p:ext>
            </p:extLst>
          </p:nvPr>
        </p:nvGraphicFramePr>
        <p:xfrm>
          <a:off x="2350543" y="1566190"/>
          <a:ext cx="4320479" cy="4696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2852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pl-PL" dirty="0" smtClean="0"/>
              <a:t>Dziękuję za uwagę</a:t>
            </a:r>
            <a:endParaRPr lang="en-US" sz="2400" b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1" smtClean="0"/>
              <a:t>www.pwc.com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694763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Zespół </a:t>
            </a:r>
            <a:r>
              <a:rPr lang="pl-PL" dirty="0" err="1" smtClean="0"/>
              <a:t>PwC</a:t>
            </a:r>
            <a:r>
              <a:rPr lang="pl-PL" dirty="0" smtClean="0"/>
              <a:t> Data Analytics na co dzień tworzy rozwiązania pozwalające klientom efektywniej wykorzystywać dane</a:t>
            </a:r>
            <a:endParaRPr lang="pl-PL" dirty="0"/>
          </a:p>
        </p:txBody>
      </p:sp>
      <p:sp>
        <p:nvSpPr>
          <p:cNvPr id="6" name="Flowchart: Process 5"/>
          <p:cNvSpPr/>
          <p:nvPr/>
        </p:nvSpPr>
        <p:spPr>
          <a:xfrm>
            <a:off x="4957482" y="1501767"/>
            <a:ext cx="3767220" cy="1573126"/>
          </a:xfrm>
          <a:prstGeom prst="flowChartProcess">
            <a:avLst/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432000" tIns="36000" rIns="648000" bIns="36000" anchor="ctr"/>
          <a:lstStyle/>
          <a:p>
            <a:r>
              <a:rPr lang="pl-PL" sz="16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Sektor niefinansow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Analizy koszykow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Geolokalizacja</a:t>
            </a:r>
            <a:endParaRPr lang="pl-PL" sz="1200" b="1" dirty="0" smtClean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Logistyka i Supply Chain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Elastyczności cenow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Predictive</a:t>
            </a: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maintenance</a:t>
            </a:r>
            <a:endParaRPr lang="pl-PL" sz="1200" b="1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HR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analytics</a:t>
            </a:r>
            <a:endParaRPr lang="pl-PL" sz="1200" b="1" dirty="0" smtClean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7" name="Flowchart: Process 6"/>
          <p:cNvSpPr/>
          <p:nvPr/>
        </p:nvSpPr>
        <p:spPr>
          <a:xfrm>
            <a:off x="298130" y="1501766"/>
            <a:ext cx="3897352" cy="1573127"/>
          </a:xfrm>
          <a:prstGeom prst="flowChartProcess">
            <a:avLst/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432000" tIns="36000" rIns="648000" bIns="36000" anchor="ctr"/>
          <a:lstStyle/>
          <a:p>
            <a:r>
              <a:rPr lang="pl-PL" sz="16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Sektor finansow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Modelowanie ryzy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Retencja klientó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Customer</a:t>
            </a: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Lifetime</a:t>
            </a: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Dynamiczny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pricing</a:t>
            </a:r>
            <a:endParaRPr lang="en-US" sz="1200" b="1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8" name="Flowchart: Process 7"/>
          <p:cNvSpPr/>
          <p:nvPr/>
        </p:nvSpPr>
        <p:spPr>
          <a:xfrm>
            <a:off x="4957482" y="3494247"/>
            <a:ext cx="3767220" cy="1570812"/>
          </a:xfrm>
          <a:prstGeom prst="flowChartProcess">
            <a:avLst/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432000" tIns="36000" rIns="648000" bIns="36000" anchor="ctr"/>
          <a:lstStyle/>
          <a:p>
            <a:r>
              <a:rPr lang="pl-PL" sz="16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Digital </a:t>
            </a:r>
            <a:r>
              <a:rPr lang="pl-PL" sz="16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transformation</a:t>
            </a:r>
            <a:r>
              <a:rPr lang="pl-PL" sz="16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Strategia wdrażania usług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cloud</a:t>
            </a: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computing</a:t>
            </a:r>
            <a:endParaRPr lang="pl-PL" sz="1200" b="1" dirty="0" smtClean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Cyberbezpieczeństwo</a:t>
            </a:r>
            <a:endParaRPr lang="pl-PL" sz="1200" b="1" dirty="0" smtClean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Budowa data </a:t>
            </a:r>
            <a:r>
              <a:rPr lang="pl-PL" sz="1200" b="1" dirty="0" err="1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lakes</a:t>
            </a:r>
            <a:endParaRPr lang="en-US" sz="1200" b="1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9" name="Flowchart: Process 8"/>
          <p:cNvSpPr/>
          <p:nvPr/>
        </p:nvSpPr>
        <p:spPr>
          <a:xfrm>
            <a:off x="298129" y="3494247"/>
            <a:ext cx="3897353" cy="1570812"/>
          </a:xfrm>
          <a:prstGeom prst="flowChartProcess">
            <a:avLst/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432000" tIns="36000" rIns="648000" bIns="36000" anchor="ctr"/>
          <a:lstStyle/>
          <a:p>
            <a:r>
              <a:rPr lang="pl-PL" sz="16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Development aplikacj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Narzędzia wspierające banki </a:t>
            </a:r>
            <a:b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w zarządzaniu ryzyki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Narzędzia do kalkulacji odpisów aktualizujących</a:t>
            </a:r>
            <a:endParaRPr lang="en-US" sz="1200" b="1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 bwMode="ltGray">
          <a:xfrm>
            <a:off x="1335741" y="5316071"/>
            <a:ext cx="6624918" cy="681317"/>
          </a:xfrm>
          <a:prstGeom prst="rect">
            <a:avLst/>
          </a:prstGeom>
          <a:solidFill>
            <a:schemeClr val="accent4">
              <a:lumMod val="75000"/>
            </a:schemeClr>
          </a:solidFill>
          <a:ln w="3175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chemeClr val="bg1"/>
                </a:solidFill>
                <a:latin typeface="Georgia" pitchFamily="18" charset="0"/>
              </a:rPr>
              <a:t>https://www.pwc.pl/hello-world</a:t>
            </a:r>
            <a:endParaRPr lang="pl-PL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9" name="Freeform 1300"/>
          <p:cNvSpPr>
            <a:spLocks noEditPoints="1"/>
          </p:cNvSpPr>
          <p:nvPr/>
        </p:nvSpPr>
        <p:spPr bwMode="auto">
          <a:xfrm>
            <a:off x="7874666" y="4264258"/>
            <a:ext cx="617538" cy="617538"/>
          </a:xfrm>
          <a:custGeom>
            <a:avLst/>
            <a:gdLst/>
            <a:ahLst/>
            <a:cxnLst>
              <a:cxn ang="0">
                <a:pos x="1049" y="546"/>
              </a:cxn>
              <a:cxn ang="0">
                <a:pos x="44" y="546"/>
              </a:cxn>
              <a:cxn ang="0">
                <a:pos x="546" y="0"/>
              </a:cxn>
              <a:cxn ang="0">
                <a:pos x="546" y="1092"/>
              </a:cxn>
              <a:cxn ang="0">
                <a:pos x="546" y="0"/>
              </a:cxn>
              <a:cxn ang="0">
                <a:pos x="546" y="115"/>
              </a:cxn>
              <a:cxn ang="0">
                <a:pos x="141" y="694"/>
              </a:cxn>
              <a:cxn ang="0">
                <a:pos x="694" y="951"/>
              </a:cxn>
              <a:cxn ang="0">
                <a:pos x="925" y="541"/>
              </a:cxn>
              <a:cxn ang="0">
                <a:pos x="815" y="490"/>
              </a:cxn>
              <a:cxn ang="0">
                <a:pos x="902" y="417"/>
              </a:cxn>
              <a:cxn ang="0">
                <a:pos x="817" y="293"/>
              </a:cxn>
              <a:cxn ang="0">
                <a:pos x="655" y="353"/>
              </a:cxn>
              <a:cxn ang="0">
                <a:pos x="630" y="177"/>
              </a:cxn>
              <a:cxn ang="0">
                <a:pos x="817" y="293"/>
              </a:cxn>
              <a:cxn ang="0">
                <a:pos x="170" y="503"/>
              </a:cxn>
              <a:cxn ang="0">
                <a:pos x="249" y="386"/>
              </a:cxn>
              <a:cxn ang="0">
                <a:pos x="306" y="641"/>
              </a:cxn>
              <a:cxn ang="0">
                <a:pos x="626" y="335"/>
              </a:cxn>
              <a:cxn ang="0">
                <a:pos x="571" y="183"/>
              </a:cxn>
              <a:cxn ang="0">
                <a:pos x="626" y="335"/>
              </a:cxn>
              <a:cxn ang="0">
                <a:pos x="521" y="173"/>
              </a:cxn>
              <a:cxn ang="0">
                <a:pos x="433" y="185"/>
              </a:cxn>
              <a:cxn ang="0">
                <a:pos x="505" y="172"/>
              </a:cxn>
              <a:cxn ang="0">
                <a:pos x="421" y="252"/>
              </a:cxn>
              <a:cxn ang="0">
                <a:pos x="368" y="212"/>
              </a:cxn>
              <a:cxn ang="0">
                <a:pos x="294" y="284"/>
              </a:cxn>
              <a:cxn ang="0">
                <a:pos x="349" y="436"/>
              </a:cxn>
              <a:cxn ang="0">
                <a:pos x="294" y="284"/>
              </a:cxn>
              <a:cxn ang="0">
                <a:pos x="487" y="436"/>
              </a:cxn>
              <a:cxn ang="0">
                <a:pos x="383" y="444"/>
              </a:cxn>
              <a:cxn ang="0">
                <a:pos x="476" y="303"/>
              </a:cxn>
              <a:cxn ang="0">
                <a:pos x="520" y="424"/>
              </a:cxn>
              <a:cxn ang="0">
                <a:pos x="372" y="478"/>
              </a:cxn>
              <a:cxn ang="0">
                <a:pos x="499" y="468"/>
              </a:cxn>
              <a:cxn ang="0">
                <a:pos x="419" y="658"/>
              </a:cxn>
              <a:cxn ang="0">
                <a:pos x="340" y="650"/>
              </a:cxn>
              <a:cxn ang="0">
                <a:pos x="532" y="456"/>
              </a:cxn>
              <a:cxn ang="0">
                <a:pos x="771" y="493"/>
              </a:cxn>
              <a:cxn ang="0">
                <a:pos x="532" y="456"/>
              </a:cxn>
              <a:cxn ang="0">
                <a:pos x="321" y="823"/>
              </a:cxn>
              <a:cxn ang="0">
                <a:pos x="190" y="676"/>
              </a:cxn>
              <a:cxn ang="0">
                <a:pos x="304" y="677"/>
              </a:cxn>
              <a:cxn ang="0">
                <a:pos x="338" y="685"/>
              </a:cxn>
              <a:cxn ang="0">
                <a:pos x="419" y="693"/>
              </a:cxn>
              <a:cxn ang="0">
                <a:pos x="628" y="821"/>
              </a:cxn>
              <a:cxn ang="0">
                <a:pos x="360" y="833"/>
              </a:cxn>
              <a:cxn ang="0">
                <a:pos x="795" y="519"/>
              </a:cxn>
              <a:cxn ang="0">
                <a:pos x="874" y="649"/>
              </a:cxn>
              <a:cxn ang="0">
                <a:pos x="604" y="656"/>
              </a:cxn>
              <a:cxn ang="0">
                <a:pos x="381" y="876"/>
              </a:cxn>
              <a:cxn ang="0">
                <a:pos x="640" y="854"/>
              </a:cxn>
              <a:cxn ang="0">
                <a:pos x="546" y="926"/>
              </a:cxn>
              <a:cxn ang="0">
                <a:pos x="692" y="896"/>
              </a:cxn>
              <a:cxn ang="0">
                <a:pos x="884" y="693"/>
              </a:cxn>
              <a:cxn ang="0">
                <a:pos x="692" y="896"/>
              </a:cxn>
            </a:cxnLst>
            <a:rect l="0" t="0" r="r" b="b"/>
            <a:pathLst>
              <a:path w="1092" h="1092">
                <a:moveTo>
                  <a:pt x="546" y="44"/>
                </a:moveTo>
                <a:cubicBezTo>
                  <a:pt x="823" y="44"/>
                  <a:pt x="1049" y="269"/>
                  <a:pt x="1049" y="546"/>
                </a:cubicBezTo>
                <a:cubicBezTo>
                  <a:pt x="1049" y="824"/>
                  <a:pt x="823" y="1049"/>
                  <a:pt x="546" y="1049"/>
                </a:cubicBezTo>
                <a:cubicBezTo>
                  <a:pt x="269" y="1049"/>
                  <a:pt x="44" y="824"/>
                  <a:pt x="44" y="546"/>
                </a:cubicBezTo>
                <a:cubicBezTo>
                  <a:pt x="44" y="269"/>
                  <a:pt x="269" y="44"/>
                  <a:pt x="546" y="44"/>
                </a:cubicBezTo>
                <a:moveTo>
                  <a:pt x="546" y="0"/>
                </a:moveTo>
                <a:cubicBezTo>
                  <a:pt x="245" y="0"/>
                  <a:pt x="0" y="245"/>
                  <a:pt x="0" y="546"/>
                </a:cubicBezTo>
                <a:cubicBezTo>
                  <a:pt x="0" y="848"/>
                  <a:pt x="245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5"/>
                  <a:pt x="848" y="0"/>
                  <a:pt x="546" y="0"/>
                </a:cubicBezTo>
                <a:close/>
                <a:moveTo>
                  <a:pt x="951" y="399"/>
                </a:moveTo>
                <a:cubicBezTo>
                  <a:pt x="888" y="224"/>
                  <a:pt x="722" y="115"/>
                  <a:pt x="546" y="115"/>
                </a:cubicBezTo>
                <a:cubicBezTo>
                  <a:pt x="497" y="115"/>
                  <a:pt x="447" y="123"/>
                  <a:pt x="399" y="141"/>
                </a:cubicBezTo>
                <a:cubicBezTo>
                  <a:pt x="175" y="223"/>
                  <a:pt x="60" y="470"/>
                  <a:pt x="141" y="694"/>
                </a:cubicBezTo>
                <a:cubicBezTo>
                  <a:pt x="205" y="869"/>
                  <a:pt x="370" y="978"/>
                  <a:pt x="546" y="978"/>
                </a:cubicBezTo>
                <a:cubicBezTo>
                  <a:pt x="595" y="978"/>
                  <a:pt x="645" y="969"/>
                  <a:pt x="694" y="951"/>
                </a:cubicBezTo>
                <a:cubicBezTo>
                  <a:pt x="917" y="870"/>
                  <a:pt x="1033" y="623"/>
                  <a:pt x="951" y="399"/>
                </a:cubicBezTo>
                <a:close/>
                <a:moveTo>
                  <a:pt x="925" y="541"/>
                </a:moveTo>
                <a:cubicBezTo>
                  <a:pt x="919" y="565"/>
                  <a:pt x="910" y="590"/>
                  <a:pt x="897" y="614"/>
                </a:cubicBezTo>
                <a:cubicBezTo>
                  <a:pt x="879" y="572"/>
                  <a:pt x="851" y="530"/>
                  <a:pt x="815" y="490"/>
                </a:cubicBezTo>
                <a:cubicBezTo>
                  <a:pt x="847" y="440"/>
                  <a:pt x="864" y="387"/>
                  <a:pt x="861" y="335"/>
                </a:cubicBezTo>
                <a:cubicBezTo>
                  <a:pt x="878" y="360"/>
                  <a:pt x="892" y="387"/>
                  <a:pt x="902" y="417"/>
                </a:cubicBezTo>
                <a:cubicBezTo>
                  <a:pt x="917" y="457"/>
                  <a:pt x="924" y="499"/>
                  <a:pt x="925" y="541"/>
                </a:cubicBezTo>
                <a:close/>
                <a:moveTo>
                  <a:pt x="817" y="293"/>
                </a:moveTo>
                <a:cubicBezTo>
                  <a:pt x="837" y="347"/>
                  <a:pt x="825" y="408"/>
                  <a:pt x="791" y="464"/>
                </a:cubicBezTo>
                <a:cubicBezTo>
                  <a:pt x="752" y="424"/>
                  <a:pt x="705" y="386"/>
                  <a:pt x="655" y="353"/>
                </a:cubicBezTo>
                <a:cubicBezTo>
                  <a:pt x="679" y="313"/>
                  <a:pt x="685" y="271"/>
                  <a:pt x="671" y="233"/>
                </a:cubicBezTo>
                <a:cubicBezTo>
                  <a:pt x="663" y="211"/>
                  <a:pt x="649" y="192"/>
                  <a:pt x="630" y="177"/>
                </a:cubicBezTo>
                <a:cubicBezTo>
                  <a:pt x="697" y="192"/>
                  <a:pt x="758" y="225"/>
                  <a:pt x="807" y="271"/>
                </a:cubicBezTo>
                <a:cubicBezTo>
                  <a:pt x="811" y="278"/>
                  <a:pt x="814" y="285"/>
                  <a:pt x="817" y="293"/>
                </a:cubicBezTo>
                <a:close/>
                <a:moveTo>
                  <a:pt x="176" y="526"/>
                </a:moveTo>
                <a:cubicBezTo>
                  <a:pt x="173" y="518"/>
                  <a:pt x="171" y="511"/>
                  <a:pt x="170" y="503"/>
                </a:cubicBezTo>
                <a:cubicBezTo>
                  <a:pt x="178" y="435"/>
                  <a:pt x="204" y="371"/>
                  <a:pt x="244" y="317"/>
                </a:cubicBezTo>
                <a:cubicBezTo>
                  <a:pt x="240" y="341"/>
                  <a:pt x="241" y="364"/>
                  <a:pt x="249" y="386"/>
                </a:cubicBezTo>
                <a:cubicBezTo>
                  <a:pt x="263" y="425"/>
                  <a:pt x="295" y="453"/>
                  <a:pt x="339" y="469"/>
                </a:cubicBezTo>
                <a:cubicBezTo>
                  <a:pt x="321" y="526"/>
                  <a:pt x="310" y="584"/>
                  <a:pt x="306" y="641"/>
                </a:cubicBezTo>
                <a:cubicBezTo>
                  <a:pt x="242" y="620"/>
                  <a:pt x="196" y="579"/>
                  <a:pt x="176" y="526"/>
                </a:cubicBezTo>
                <a:close/>
                <a:moveTo>
                  <a:pt x="626" y="335"/>
                </a:moveTo>
                <a:cubicBezTo>
                  <a:pt x="578" y="306"/>
                  <a:pt x="527" y="283"/>
                  <a:pt x="477" y="267"/>
                </a:cubicBezTo>
                <a:cubicBezTo>
                  <a:pt x="507" y="228"/>
                  <a:pt x="540" y="199"/>
                  <a:pt x="571" y="183"/>
                </a:cubicBezTo>
                <a:cubicBezTo>
                  <a:pt x="604" y="195"/>
                  <a:pt x="628" y="217"/>
                  <a:pt x="639" y="245"/>
                </a:cubicBezTo>
                <a:cubicBezTo>
                  <a:pt x="649" y="272"/>
                  <a:pt x="644" y="304"/>
                  <a:pt x="626" y="335"/>
                </a:cubicBezTo>
                <a:close/>
                <a:moveTo>
                  <a:pt x="505" y="172"/>
                </a:moveTo>
                <a:cubicBezTo>
                  <a:pt x="511" y="172"/>
                  <a:pt x="516" y="173"/>
                  <a:pt x="521" y="173"/>
                </a:cubicBezTo>
                <a:cubicBezTo>
                  <a:pt x="498" y="190"/>
                  <a:pt x="475" y="213"/>
                  <a:pt x="453" y="240"/>
                </a:cubicBezTo>
                <a:cubicBezTo>
                  <a:pt x="433" y="185"/>
                  <a:pt x="433" y="185"/>
                  <a:pt x="433" y="185"/>
                </a:cubicBezTo>
                <a:cubicBezTo>
                  <a:pt x="445" y="181"/>
                  <a:pt x="457" y="178"/>
                  <a:pt x="468" y="176"/>
                </a:cubicBezTo>
                <a:cubicBezTo>
                  <a:pt x="481" y="174"/>
                  <a:pt x="493" y="172"/>
                  <a:pt x="505" y="172"/>
                </a:cubicBezTo>
                <a:close/>
                <a:moveTo>
                  <a:pt x="400" y="196"/>
                </a:moveTo>
                <a:cubicBezTo>
                  <a:pt x="421" y="252"/>
                  <a:pt x="421" y="252"/>
                  <a:pt x="421" y="252"/>
                </a:cubicBezTo>
                <a:cubicBezTo>
                  <a:pt x="386" y="245"/>
                  <a:pt x="354" y="243"/>
                  <a:pt x="325" y="245"/>
                </a:cubicBezTo>
                <a:cubicBezTo>
                  <a:pt x="338" y="232"/>
                  <a:pt x="352" y="221"/>
                  <a:pt x="368" y="212"/>
                </a:cubicBezTo>
                <a:cubicBezTo>
                  <a:pt x="379" y="206"/>
                  <a:pt x="389" y="201"/>
                  <a:pt x="400" y="196"/>
                </a:cubicBezTo>
                <a:close/>
                <a:moveTo>
                  <a:pt x="294" y="284"/>
                </a:moveTo>
                <a:cubicBezTo>
                  <a:pt x="328" y="276"/>
                  <a:pt x="372" y="277"/>
                  <a:pt x="420" y="288"/>
                </a:cubicBezTo>
                <a:cubicBezTo>
                  <a:pt x="391" y="332"/>
                  <a:pt x="368" y="383"/>
                  <a:pt x="349" y="436"/>
                </a:cubicBezTo>
                <a:cubicBezTo>
                  <a:pt x="316" y="424"/>
                  <a:pt x="292" y="403"/>
                  <a:pt x="282" y="374"/>
                </a:cubicBezTo>
                <a:cubicBezTo>
                  <a:pt x="271" y="347"/>
                  <a:pt x="276" y="315"/>
                  <a:pt x="294" y="284"/>
                </a:cubicBezTo>
                <a:close/>
                <a:moveTo>
                  <a:pt x="444" y="315"/>
                </a:moveTo>
                <a:cubicBezTo>
                  <a:pt x="487" y="436"/>
                  <a:pt x="487" y="436"/>
                  <a:pt x="487" y="436"/>
                </a:cubicBezTo>
                <a:cubicBezTo>
                  <a:pt x="463" y="443"/>
                  <a:pt x="439" y="447"/>
                  <a:pt x="415" y="447"/>
                </a:cubicBezTo>
                <a:cubicBezTo>
                  <a:pt x="404" y="447"/>
                  <a:pt x="393" y="445"/>
                  <a:pt x="383" y="444"/>
                </a:cubicBezTo>
                <a:cubicBezTo>
                  <a:pt x="399" y="398"/>
                  <a:pt x="419" y="354"/>
                  <a:pt x="444" y="315"/>
                </a:cubicBezTo>
                <a:close/>
                <a:moveTo>
                  <a:pt x="476" y="303"/>
                </a:moveTo>
                <a:cubicBezTo>
                  <a:pt x="520" y="318"/>
                  <a:pt x="564" y="338"/>
                  <a:pt x="606" y="363"/>
                </a:cubicBezTo>
                <a:cubicBezTo>
                  <a:pt x="584" y="388"/>
                  <a:pt x="554" y="409"/>
                  <a:pt x="520" y="424"/>
                </a:cubicBezTo>
                <a:lnTo>
                  <a:pt x="476" y="303"/>
                </a:lnTo>
                <a:close/>
                <a:moveTo>
                  <a:pt x="372" y="478"/>
                </a:moveTo>
                <a:cubicBezTo>
                  <a:pt x="385" y="480"/>
                  <a:pt x="400" y="481"/>
                  <a:pt x="415" y="481"/>
                </a:cubicBezTo>
                <a:cubicBezTo>
                  <a:pt x="443" y="481"/>
                  <a:pt x="471" y="477"/>
                  <a:pt x="499" y="468"/>
                </a:cubicBezTo>
                <a:cubicBezTo>
                  <a:pt x="560" y="635"/>
                  <a:pt x="560" y="635"/>
                  <a:pt x="560" y="635"/>
                </a:cubicBezTo>
                <a:cubicBezTo>
                  <a:pt x="513" y="650"/>
                  <a:pt x="465" y="658"/>
                  <a:pt x="419" y="658"/>
                </a:cubicBezTo>
                <a:cubicBezTo>
                  <a:pt x="419" y="658"/>
                  <a:pt x="419" y="658"/>
                  <a:pt x="419" y="658"/>
                </a:cubicBezTo>
                <a:cubicBezTo>
                  <a:pt x="391" y="658"/>
                  <a:pt x="364" y="656"/>
                  <a:pt x="340" y="650"/>
                </a:cubicBezTo>
                <a:cubicBezTo>
                  <a:pt x="343" y="594"/>
                  <a:pt x="354" y="535"/>
                  <a:pt x="372" y="478"/>
                </a:cubicBezTo>
                <a:close/>
                <a:moveTo>
                  <a:pt x="532" y="456"/>
                </a:moveTo>
                <a:cubicBezTo>
                  <a:pt x="574" y="439"/>
                  <a:pt x="610" y="413"/>
                  <a:pt x="636" y="381"/>
                </a:cubicBezTo>
                <a:cubicBezTo>
                  <a:pt x="686" y="414"/>
                  <a:pt x="732" y="452"/>
                  <a:pt x="771" y="493"/>
                </a:cubicBezTo>
                <a:cubicBezTo>
                  <a:pt x="730" y="546"/>
                  <a:pt x="668" y="593"/>
                  <a:pt x="593" y="623"/>
                </a:cubicBezTo>
                <a:lnTo>
                  <a:pt x="532" y="456"/>
                </a:lnTo>
                <a:close/>
                <a:moveTo>
                  <a:pt x="304" y="677"/>
                </a:moveTo>
                <a:cubicBezTo>
                  <a:pt x="303" y="730"/>
                  <a:pt x="308" y="780"/>
                  <a:pt x="321" y="823"/>
                </a:cubicBezTo>
                <a:cubicBezTo>
                  <a:pt x="295" y="814"/>
                  <a:pt x="273" y="801"/>
                  <a:pt x="253" y="786"/>
                </a:cubicBezTo>
                <a:cubicBezTo>
                  <a:pt x="226" y="754"/>
                  <a:pt x="205" y="717"/>
                  <a:pt x="190" y="676"/>
                </a:cubicBezTo>
                <a:cubicBezTo>
                  <a:pt x="179" y="646"/>
                  <a:pt x="172" y="616"/>
                  <a:pt x="169" y="586"/>
                </a:cubicBezTo>
                <a:cubicBezTo>
                  <a:pt x="199" y="628"/>
                  <a:pt x="246" y="659"/>
                  <a:pt x="304" y="677"/>
                </a:cubicBezTo>
                <a:close/>
                <a:moveTo>
                  <a:pt x="360" y="833"/>
                </a:moveTo>
                <a:cubicBezTo>
                  <a:pt x="345" y="790"/>
                  <a:pt x="338" y="740"/>
                  <a:pt x="338" y="685"/>
                </a:cubicBezTo>
                <a:cubicBezTo>
                  <a:pt x="364" y="690"/>
                  <a:pt x="390" y="693"/>
                  <a:pt x="419" y="693"/>
                </a:cubicBezTo>
                <a:cubicBezTo>
                  <a:pt x="419" y="693"/>
                  <a:pt x="419" y="693"/>
                  <a:pt x="419" y="693"/>
                </a:cubicBezTo>
                <a:cubicBezTo>
                  <a:pt x="469" y="693"/>
                  <a:pt x="521" y="684"/>
                  <a:pt x="572" y="667"/>
                </a:cubicBezTo>
                <a:cubicBezTo>
                  <a:pt x="628" y="821"/>
                  <a:pt x="628" y="821"/>
                  <a:pt x="628" y="821"/>
                </a:cubicBezTo>
                <a:cubicBezTo>
                  <a:pt x="536" y="851"/>
                  <a:pt x="443" y="856"/>
                  <a:pt x="361" y="836"/>
                </a:cubicBezTo>
                <a:cubicBezTo>
                  <a:pt x="361" y="835"/>
                  <a:pt x="360" y="834"/>
                  <a:pt x="360" y="833"/>
                </a:cubicBezTo>
                <a:close/>
                <a:moveTo>
                  <a:pt x="604" y="656"/>
                </a:moveTo>
                <a:cubicBezTo>
                  <a:pt x="684" y="624"/>
                  <a:pt x="750" y="575"/>
                  <a:pt x="795" y="519"/>
                </a:cubicBezTo>
                <a:cubicBezTo>
                  <a:pt x="830" y="560"/>
                  <a:pt x="857" y="604"/>
                  <a:pt x="873" y="646"/>
                </a:cubicBezTo>
                <a:cubicBezTo>
                  <a:pt x="873" y="647"/>
                  <a:pt x="874" y="648"/>
                  <a:pt x="874" y="649"/>
                </a:cubicBezTo>
                <a:cubicBezTo>
                  <a:pt x="825" y="717"/>
                  <a:pt x="750" y="773"/>
                  <a:pt x="660" y="809"/>
                </a:cubicBezTo>
                <a:lnTo>
                  <a:pt x="604" y="656"/>
                </a:lnTo>
                <a:close/>
                <a:moveTo>
                  <a:pt x="394" y="893"/>
                </a:moveTo>
                <a:cubicBezTo>
                  <a:pt x="389" y="888"/>
                  <a:pt x="385" y="882"/>
                  <a:pt x="381" y="876"/>
                </a:cubicBezTo>
                <a:cubicBezTo>
                  <a:pt x="408" y="880"/>
                  <a:pt x="436" y="883"/>
                  <a:pt x="464" y="883"/>
                </a:cubicBezTo>
                <a:cubicBezTo>
                  <a:pt x="521" y="883"/>
                  <a:pt x="581" y="873"/>
                  <a:pt x="640" y="854"/>
                </a:cubicBezTo>
                <a:cubicBezTo>
                  <a:pt x="659" y="908"/>
                  <a:pt x="659" y="908"/>
                  <a:pt x="659" y="908"/>
                </a:cubicBezTo>
                <a:cubicBezTo>
                  <a:pt x="623" y="919"/>
                  <a:pt x="585" y="926"/>
                  <a:pt x="546" y="926"/>
                </a:cubicBezTo>
                <a:cubicBezTo>
                  <a:pt x="493" y="926"/>
                  <a:pt x="441" y="914"/>
                  <a:pt x="394" y="893"/>
                </a:cubicBezTo>
                <a:close/>
                <a:moveTo>
                  <a:pt x="692" y="896"/>
                </a:moveTo>
                <a:cubicBezTo>
                  <a:pt x="672" y="842"/>
                  <a:pt x="672" y="842"/>
                  <a:pt x="672" y="842"/>
                </a:cubicBezTo>
                <a:cubicBezTo>
                  <a:pt x="758" y="808"/>
                  <a:pt x="832" y="756"/>
                  <a:pt x="884" y="693"/>
                </a:cubicBezTo>
                <a:cubicBezTo>
                  <a:pt x="885" y="700"/>
                  <a:pt x="886" y="707"/>
                  <a:pt x="886" y="714"/>
                </a:cubicBezTo>
                <a:cubicBezTo>
                  <a:pt x="845" y="797"/>
                  <a:pt x="777" y="861"/>
                  <a:pt x="692" y="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2294"/>
          <p:cNvSpPr>
            <a:spLocks noEditPoints="1"/>
          </p:cNvSpPr>
          <p:nvPr/>
        </p:nvSpPr>
        <p:spPr bwMode="auto">
          <a:xfrm>
            <a:off x="7873078" y="1637600"/>
            <a:ext cx="617538" cy="617538"/>
          </a:xfrm>
          <a:custGeom>
            <a:avLst/>
            <a:gdLst/>
            <a:ahLst/>
            <a:cxnLst>
              <a:cxn ang="0">
                <a:pos x="546" y="43"/>
              </a:cxn>
              <a:cxn ang="0">
                <a:pos x="1049" y="546"/>
              </a:cxn>
              <a:cxn ang="0">
                <a:pos x="546" y="1049"/>
              </a:cxn>
              <a:cxn ang="0">
                <a:pos x="43" y="546"/>
              </a:cxn>
              <a:cxn ang="0">
                <a:pos x="546" y="43"/>
              </a:cxn>
              <a:cxn ang="0">
                <a:pos x="546" y="0"/>
              </a:cxn>
              <a:cxn ang="0">
                <a:pos x="0" y="546"/>
              </a:cxn>
              <a:cxn ang="0">
                <a:pos x="546" y="1092"/>
              </a:cxn>
              <a:cxn ang="0">
                <a:pos x="1092" y="546"/>
              </a:cxn>
              <a:cxn ang="0">
                <a:pos x="546" y="0"/>
              </a:cxn>
              <a:cxn ang="0">
                <a:pos x="352" y="693"/>
              </a:cxn>
              <a:cxn ang="0">
                <a:pos x="742" y="693"/>
              </a:cxn>
              <a:cxn ang="0">
                <a:pos x="777" y="659"/>
              </a:cxn>
              <a:cxn ang="0">
                <a:pos x="777" y="171"/>
              </a:cxn>
              <a:cxn ang="0">
                <a:pos x="742" y="136"/>
              </a:cxn>
              <a:cxn ang="0">
                <a:pos x="352" y="136"/>
              </a:cxn>
              <a:cxn ang="0">
                <a:pos x="317" y="171"/>
              </a:cxn>
              <a:cxn ang="0">
                <a:pos x="317" y="659"/>
              </a:cxn>
              <a:cxn ang="0">
                <a:pos x="352" y="693"/>
              </a:cxn>
              <a:cxn ang="0">
                <a:pos x="724" y="620"/>
              </a:cxn>
              <a:cxn ang="0">
                <a:pos x="615" y="620"/>
              </a:cxn>
              <a:cxn ang="0">
                <a:pos x="615" y="561"/>
              </a:cxn>
              <a:cxn ang="0">
                <a:pos x="724" y="561"/>
              </a:cxn>
              <a:cxn ang="0">
                <a:pos x="724" y="620"/>
              </a:cxn>
              <a:cxn ang="0">
                <a:pos x="370" y="195"/>
              </a:cxn>
              <a:cxn ang="0">
                <a:pos x="724" y="195"/>
              </a:cxn>
              <a:cxn ang="0">
                <a:pos x="724" y="410"/>
              </a:cxn>
              <a:cxn ang="0">
                <a:pos x="547" y="462"/>
              </a:cxn>
              <a:cxn ang="0">
                <a:pos x="370" y="410"/>
              </a:cxn>
              <a:cxn ang="0">
                <a:pos x="370" y="195"/>
              </a:cxn>
              <a:cxn ang="0">
                <a:pos x="370" y="561"/>
              </a:cxn>
              <a:cxn ang="0">
                <a:pos x="479" y="561"/>
              </a:cxn>
              <a:cxn ang="0">
                <a:pos x="479" y="620"/>
              </a:cxn>
              <a:cxn ang="0">
                <a:pos x="370" y="620"/>
              </a:cxn>
              <a:cxn ang="0">
                <a:pos x="370" y="561"/>
              </a:cxn>
              <a:cxn ang="0">
                <a:pos x="801" y="915"/>
              </a:cxn>
              <a:cxn ang="0">
                <a:pos x="732" y="728"/>
              </a:cxn>
              <a:cxn ang="0">
                <a:pos x="667" y="728"/>
              </a:cxn>
              <a:cxn ang="0">
                <a:pos x="684" y="773"/>
              </a:cxn>
              <a:cxn ang="0">
                <a:pos x="410" y="773"/>
              </a:cxn>
              <a:cxn ang="0">
                <a:pos x="427" y="728"/>
              </a:cxn>
              <a:cxn ang="0">
                <a:pos x="362" y="728"/>
              </a:cxn>
              <a:cxn ang="0">
                <a:pos x="293" y="915"/>
              </a:cxn>
              <a:cxn ang="0">
                <a:pos x="311" y="954"/>
              </a:cxn>
              <a:cxn ang="0">
                <a:pos x="322" y="955"/>
              </a:cxn>
              <a:cxn ang="0">
                <a:pos x="350" y="936"/>
              </a:cxn>
              <a:cxn ang="0">
                <a:pos x="359" y="912"/>
              </a:cxn>
              <a:cxn ang="0">
                <a:pos x="735" y="912"/>
              </a:cxn>
              <a:cxn ang="0">
                <a:pos x="744" y="936"/>
              </a:cxn>
              <a:cxn ang="0">
                <a:pos x="772" y="955"/>
              </a:cxn>
              <a:cxn ang="0">
                <a:pos x="783" y="954"/>
              </a:cxn>
              <a:cxn ang="0">
                <a:pos x="801" y="915"/>
              </a:cxn>
              <a:cxn ang="0">
                <a:pos x="375" y="869"/>
              </a:cxn>
              <a:cxn ang="0">
                <a:pos x="394" y="817"/>
              </a:cxn>
              <a:cxn ang="0">
                <a:pos x="700" y="817"/>
              </a:cxn>
              <a:cxn ang="0">
                <a:pos x="719" y="869"/>
              </a:cxn>
              <a:cxn ang="0">
                <a:pos x="375" y="869"/>
              </a:cxn>
            </a:cxnLst>
            <a:rect l="0" t="0" r="r" b="b"/>
            <a:pathLst>
              <a:path w="1092" h="1092">
                <a:moveTo>
                  <a:pt x="546" y="43"/>
                </a:moveTo>
                <a:cubicBezTo>
                  <a:pt x="823" y="43"/>
                  <a:pt x="1049" y="269"/>
                  <a:pt x="1049" y="546"/>
                </a:cubicBezTo>
                <a:cubicBezTo>
                  <a:pt x="1049" y="823"/>
                  <a:pt x="823" y="1049"/>
                  <a:pt x="546" y="1049"/>
                </a:cubicBezTo>
                <a:cubicBezTo>
                  <a:pt x="269" y="1049"/>
                  <a:pt x="43" y="823"/>
                  <a:pt x="43" y="546"/>
                </a:cubicBezTo>
                <a:cubicBezTo>
                  <a:pt x="43" y="269"/>
                  <a:pt x="269" y="43"/>
                  <a:pt x="546" y="43"/>
                </a:cubicBezTo>
                <a:moveTo>
                  <a:pt x="546" y="0"/>
                </a:moveTo>
                <a:cubicBezTo>
                  <a:pt x="244" y="0"/>
                  <a:pt x="0" y="244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4"/>
                  <a:pt x="848" y="0"/>
                  <a:pt x="546" y="0"/>
                </a:cubicBezTo>
                <a:close/>
                <a:moveTo>
                  <a:pt x="352" y="693"/>
                </a:moveTo>
                <a:cubicBezTo>
                  <a:pt x="742" y="693"/>
                  <a:pt x="742" y="693"/>
                  <a:pt x="742" y="693"/>
                </a:cubicBezTo>
                <a:cubicBezTo>
                  <a:pt x="761" y="693"/>
                  <a:pt x="777" y="678"/>
                  <a:pt x="777" y="659"/>
                </a:cubicBezTo>
                <a:cubicBezTo>
                  <a:pt x="777" y="171"/>
                  <a:pt x="777" y="171"/>
                  <a:pt x="777" y="171"/>
                </a:cubicBezTo>
                <a:cubicBezTo>
                  <a:pt x="777" y="152"/>
                  <a:pt x="761" y="136"/>
                  <a:pt x="742" y="136"/>
                </a:cubicBezTo>
                <a:cubicBezTo>
                  <a:pt x="352" y="136"/>
                  <a:pt x="352" y="136"/>
                  <a:pt x="352" y="136"/>
                </a:cubicBezTo>
                <a:cubicBezTo>
                  <a:pt x="333" y="136"/>
                  <a:pt x="317" y="152"/>
                  <a:pt x="317" y="171"/>
                </a:cubicBezTo>
                <a:cubicBezTo>
                  <a:pt x="317" y="659"/>
                  <a:pt x="317" y="659"/>
                  <a:pt x="317" y="659"/>
                </a:cubicBezTo>
                <a:cubicBezTo>
                  <a:pt x="317" y="678"/>
                  <a:pt x="333" y="693"/>
                  <a:pt x="352" y="693"/>
                </a:cubicBezTo>
                <a:close/>
                <a:moveTo>
                  <a:pt x="724" y="620"/>
                </a:moveTo>
                <a:cubicBezTo>
                  <a:pt x="615" y="620"/>
                  <a:pt x="615" y="620"/>
                  <a:pt x="615" y="620"/>
                </a:cubicBezTo>
                <a:cubicBezTo>
                  <a:pt x="615" y="561"/>
                  <a:pt x="615" y="561"/>
                  <a:pt x="615" y="561"/>
                </a:cubicBezTo>
                <a:cubicBezTo>
                  <a:pt x="724" y="561"/>
                  <a:pt x="724" y="561"/>
                  <a:pt x="724" y="561"/>
                </a:cubicBezTo>
                <a:lnTo>
                  <a:pt x="724" y="620"/>
                </a:lnTo>
                <a:close/>
                <a:moveTo>
                  <a:pt x="370" y="195"/>
                </a:moveTo>
                <a:cubicBezTo>
                  <a:pt x="724" y="195"/>
                  <a:pt x="724" y="195"/>
                  <a:pt x="724" y="195"/>
                </a:cubicBezTo>
                <a:cubicBezTo>
                  <a:pt x="724" y="410"/>
                  <a:pt x="724" y="410"/>
                  <a:pt x="724" y="410"/>
                </a:cubicBezTo>
                <a:cubicBezTo>
                  <a:pt x="724" y="410"/>
                  <a:pt x="650" y="462"/>
                  <a:pt x="547" y="462"/>
                </a:cubicBezTo>
                <a:cubicBezTo>
                  <a:pt x="445" y="462"/>
                  <a:pt x="370" y="410"/>
                  <a:pt x="370" y="410"/>
                </a:cubicBezTo>
                <a:lnTo>
                  <a:pt x="370" y="195"/>
                </a:lnTo>
                <a:close/>
                <a:moveTo>
                  <a:pt x="370" y="561"/>
                </a:moveTo>
                <a:cubicBezTo>
                  <a:pt x="479" y="561"/>
                  <a:pt x="479" y="561"/>
                  <a:pt x="479" y="561"/>
                </a:cubicBezTo>
                <a:cubicBezTo>
                  <a:pt x="479" y="620"/>
                  <a:pt x="479" y="620"/>
                  <a:pt x="479" y="620"/>
                </a:cubicBezTo>
                <a:cubicBezTo>
                  <a:pt x="370" y="620"/>
                  <a:pt x="370" y="620"/>
                  <a:pt x="370" y="620"/>
                </a:cubicBezTo>
                <a:lnTo>
                  <a:pt x="370" y="561"/>
                </a:lnTo>
                <a:close/>
                <a:moveTo>
                  <a:pt x="801" y="915"/>
                </a:moveTo>
                <a:cubicBezTo>
                  <a:pt x="732" y="728"/>
                  <a:pt x="732" y="728"/>
                  <a:pt x="732" y="728"/>
                </a:cubicBezTo>
                <a:cubicBezTo>
                  <a:pt x="667" y="728"/>
                  <a:pt x="667" y="728"/>
                  <a:pt x="667" y="728"/>
                </a:cubicBezTo>
                <a:cubicBezTo>
                  <a:pt x="684" y="773"/>
                  <a:pt x="684" y="773"/>
                  <a:pt x="684" y="773"/>
                </a:cubicBezTo>
                <a:cubicBezTo>
                  <a:pt x="410" y="773"/>
                  <a:pt x="410" y="773"/>
                  <a:pt x="410" y="773"/>
                </a:cubicBezTo>
                <a:cubicBezTo>
                  <a:pt x="427" y="728"/>
                  <a:pt x="427" y="728"/>
                  <a:pt x="427" y="728"/>
                </a:cubicBezTo>
                <a:cubicBezTo>
                  <a:pt x="362" y="728"/>
                  <a:pt x="362" y="728"/>
                  <a:pt x="362" y="728"/>
                </a:cubicBezTo>
                <a:cubicBezTo>
                  <a:pt x="293" y="915"/>
                  <a:pt x="293" y="915"/>
                  <a:pt x="293" y="915"/>
                </a:cubicBezTo>
                <a:cubicBezTo>
                  <a:pt x="288" y="930"/>
                  <a:pt x="296" y="948"/>
                  <a:pt x="311" y="954"/>
                </a:cubicBezTo>
                <a:cubicBezTo>
                  <a:pt x="315" y="955"/>
                  <a:pt x="318" y="955"/>
                  <a:pt x="322" y="955"/>
                </a:cubicBezTo>
                <a:cubicBezTo>
                  <a:pt x="334" y="955"/>
                  <a:pt x="346" y="948"/>
                  <a:pt x="350" y="936"/>
                </a:cubicBezTo>
                <a:cubicBezTo>
                  <a:pt x="359" y="912"/>
                  <a:pt x="359" y="912"/>
                  <a:pt x="359" y="912"/>
                </a:cubicBezTo>
                <a:cubicBezTo>
                  <a:pt x="735" y="912"/>
                  <a:pt x="735" y="912"/>
                  <a:pt x="735" y="912"/>
                </a:cubicBezTo>
                <a:cubicBezTo>
                  <a:pt x="744" y="936"/>
                  <a:pt x="744" y="936"/>
                  <a:pt x="744" y="936"/>
                </a:cubicBezTo>
                <a:cubicBezTo>
                  <a:pt x="749" y="948"/>
                  <a:pt x="760" y="955"/>
                  <a:pt x="772" y="955"/>
                </a:cubicBezTo>
                <a:cubicBezTo>
                  <a:pt x="776" y="955"/>
                  <a:pt x="780" y="955"/>
                  <a:pt x="783" y="954"/>
                </a:cubicBezTo>
                <a:cubicBezTo>
                  <a:pt x="799" y="948"/>
                  <a:pt x="807" y="930"/>
                  <a:pt x="801" y="915"/>
                </a:cubicBezTo>
                <a:close/>
                <a:moveTo>
                  <a:pt x="375" y="869"/>
                </a:moveTo>
                <a:cubicBezTo>
                  <a:pt x="394" y="817"/>
                  <a:pt x="394" y="817"/>
                  <a:pt x="394" y="817"/>
                </a:cubicBezTo>
                <a:cubicBezTo>
                  <a:pt x="700" y="817"/>
                  <a:pt x="700" y="817"/>
                  <a:pt x="700" y="817"/>
                </a:cubicBezTo>
                <a:cubicBezTo>
                  <a:pt x="719" y="869"/>
                  <a:pt x="719" y="869"/>
                  <a:pt x="719" y="869"/>
                </a:cubicBezTo>
                <a:lnTo>
                  <a:pt x="375" y="86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289"/>
          <p:cNvSpPr>
            <a:spLocks noEditPoints="1"/>
          </p:cNvSpPr>
          <p:nvPr/>
        </p:nvSpPr>
        <p:spPr bwMode="auto">
          <a:xfrm>
            <a:off x="7874666" y="2369761"/>
            <a:ext cx="617538" cy="617538"/>
          </a:xfrm>
          <a:custGeom>
            <a:avLst/>
            <a:gdLst/>
            <a:ahLst/>
            <a:cxnLst>
              <a:cxn ang="0">
                <a:pos x="1049" y="546"/>
              </a:cxn>
              <a:cxn ang="0">
                <a:pos x="43" y="546"/>
              </a:cxn>
              <a:cxn ang="0">
                <a:pos x="546" y="0"/>
              </a:cxn>
              <a:cxn ang="0">
                <a:pos x="546" y="1092"/>
              </a:cxn>
              <a:cxn ang="0">
                <a:pos x="546" y="0"/>
              </a:cxn>
              <a:cxn ang="0">
                <a:pos x="782" y="325"/>
              </a:cxn>
              <a:cxn ang="0">
                <a:pos x="775" y="320"/>
              </a:cxn>
              <a:cxn ang="0">
                <a:pos x="622" y="318"/>
              </a:cxn>
              <a:cxn ang="0">
                <a:pos x="566" y="110"/>
              </a:cxn>
              <a:cxn ang="0">
                <a:pos x="561" y="103"/>
              </a:cxn>
              <a:cxn ang="0">
                <a:pos x="554" y="98"/>
              </a:cxn>
              <a:cxn ang="0">
                <a:pos x="550" y="97"/>
              </a:cxn>
              <a:cxn ang="0">
                <a:pos x="542" y="97"/>
              </a:cxn>
              <a:cxn ang="0">
                <a:pos x="538" y="98"/>
              </a:cxn>
              <a:cxn ang="0">
                <a:pos x="531" y="103"/>
              </a:cxn>
              <a:cxn ang="0">
                <a:pos x="526" y="110"/>
              </a:cxn>
              <a:cxn ang="0">
                <a:pos x="470" y="318"/>
              </a:cxn>
              <a:cxn ang="0">
                <a:pos x="317" y="320"/>
              </a:cxn>
              <a:cxn ang="0">
                <a:pos x="310" y="325"/>
              </a:cxn>
              <a:cxn ang="0">
                <a:pos x="2" y="497"/>
              </a:cxn>
              <a:cxn ang="0">
                <a:pos x="3" y="497"/>
              </a:cxn>
              <a:cxn ang="0">
                <a:pos x="439" y="433"/>
              </a:cxn>
              <a:cxn ang="0">
                <a:pos x="320" y="961"/>
              </a:cxn>
              <a:cxn ang="0">
                <a:pos x="347" y="945"/>
              </a:cxn>
              <a:cxn ang="0">
                <a:pos x="546" y="794"/>
              </a:cxn>
              <a:cxn ang="0">
                <a:pos x="745" y="945"/>
              </a:cxn>
              <a:cxn ang="0">
                <a:pos x="772" y="961"/>
              </a:cxn>
              <a:cxn ang="0">
                <a:pos x="653" y="433"/>
              </a:cxn>
              <a:cxn ang="0">
                <a:pos x="1087" y="497"/>
              </a:cxn>
              <a:cxn ang="0">
                <a:pos x="1090" y="497"/>
              </a:cxn>
              <a:cxn ang="0">
                <a:pos x="623" y="489"/>
              </a:cxn>
              <a:cxn ang="0">
                <a:pos x="614" y="455"/>
              </a:cxn>
              <a:cxn ang="0">
                <a:pos x="612" y="533"/>
              </a:cxn>
              <a:cxn ang="0">
                <a:pos x="480" y="533"/>
              </a:cxn>
              <a:cxn ang="0">
                <a:pos x="612" y="533"/>
              </a:cxn>
              <a:cxn ang="0">
                <a:pos x="577" y="318"/>
              </a:cxn>
              <a:cxn ang="0">
                <a:pos x="546" y="202"/>
              </a:cxn>
              <a:cxn ang="0">
                <a:pos x="589" y="362"/>
              </a:cxn>
              <a:cxn ang="0">
                <a:pos x="546" y="444"/>
              </a:cxn>
              <a:cxn ang="0">
                <a:pos x="503" y="362"/>
              </a:cxn>
              <a:cxn ang="0">
                <a:pos x="503" y="469"/>
              </a:cxn>
              <a:cxn ang="0">
                <a:pos x="478" y="455"/>
              </a:cxn>
              <a:cxn ang="0">
                <a:pos x="458" y="362"/>
              </a:cxn>
              <a:cxn ang="0">
                <a:pos x="403" y="362"/>
              </a:cxn>
              <a:cxn ang="0">
                <a:pos x="503" y="596"/>
              </a:cxn>
              <a:cxn ang="0">
                <a:pos x="449" y="565"/>
              </a:cxn>
              <a:cxn ang="0">
                <a:pos x="408" y="715"/>
              </a:cxn>
              <a:cxn ang="0">
                <a:pos x="374" y="844"/>
              </a:cxn>
              <a:cxn ang="0">
                <a:pos x="546" y="621"/>
              </a:cxn>
              <a:cxn ang="0">
                <a:pos x="546" y="744"/>
              </a:cxn>
              <a:cxn ang="0">
                <a:pos x="718" y="844"/>
              </a:cxn>
              <a:cxn ang="0">
                <a:pos x="684" y="715"/>
              </a:cxn>
              <a:cxn ang="0">
                <a:pos x="663" y="639"/>
              </a:cxn>
              <a:cxn ang="0">
                <a:pos x="643" y="565"/>
              </a:cxn>
              <a:cxn ang="0">
                <a:pos x="641" y="389"/>
              </a:cxn>
              <a:cxn ang="0">
                <a:pos x="689" y="362"/>
              </a:cxn>
            </a:cxnLst>
            <a:rect l="0" t="0" r="r" b="b"/>
            <a:pathLst>
              <a:path w="1092" h="1092">
                <a:moveTo>
                  <a:pt x="546" y="43"/>
                </a:moveTo>
                <a:cubicBezTo>
                  <a:pt x="823" y="43"/>
                  <a:pt x="1049" y="269"/>
                  <a:pt x="1049" y="546"/>
                </a:cubicBezTo>
                <a:cubicBezTo>
                  <a:pt x="1049" y="823"/>
                  <a:pt x="823" y="1049"/>
                  <a:pt x="546" y="1049"/>
                </a:cubicBezTo>
                <a:cubicBezTo>
                  <a:pt x="269" y="1049"/>
                  <a:pt x="43" y="823"/>
                  <a:pt x="43" y="546"/>
                </a:cubicBezTo>
                <a:cubicBezTo>
                  <a:pt x="43" y="269"/>
                  <a:pt x="269" y="43"/>
                  <a:pt x="546" y="43"/>
                </a:cubicBezTo>
                <a:moveTo>
                  <a:pt x="546" y="0"/>
                </a:moveTo>
                <a:cubicBezTo>
                  <a:pt x="244" y="0"/>
                  <a:pt x="0" y="244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4"/>
                  <a:pt x="848" y="0"/>
                  <a:pt x="546" y="0"/>
                </a:cubicBezTo>
                <a:close/>
                <a:moveTo>
                  <a:pt x="1084" y="454"/>
                </a:moveTo>
                <a:cubicBezTo>
                  <a:pt x="970" y="452"/>
                  <a:pt x="862" y="406"/>
                  <a:pt x="782" y="325"/>
                </a:cubicBezTo>
                <a:cubicBezTo>
                  <a:pt x="782" y="325"/>
                  <a:pt x="782" y="325"/>
                  <a:pt x="782" y="325"/>
                </a:cubicBezTo>
                <a:cubicBezTo>
                  <a:pt x="780" y="323"/>
                  <a:pt x="777" y="321"/>
                  <a:pt x="775" y="320"/>
                </a:cubicBezTo>
                <a:cubicBezTo>
                  <a:pt x="772" y="319"/>
                  <a:pt x="769" y="318"/>
                  <a:pt x="766" y="318"/>
                </a:cubicBezTo>
                <a:cubicBezTo>
                  <a:pt x="622" y="318"/>
                  <a:pt x="622" y="318"/>
                  <a:pt x="622" y="318"/>
                </a:cubicBezTo>
                <a:cubicBezTo>
                  <a:pt x="567" y="112"/>
                  <a:pt x="567" y="112"/>
                  <a:pt x="567" y="112"/>
                </a:cubicBezTo>
                <a:cubicBezTo>
                  <a:pt x="567" y="111"/>
                  <a:pt x="566" y="111"/>
                  <a:pt x="566" y="110"/>
                </a:cubicBezTo>
                <a:cubicBezTo>
                  <a:pt x="565" y="108"/>
                  <a:pt x="565" y="107"/>
                  <a:pt x="564" y="106"/>
                </a:cubicBezTo>
                <a:cubicBezTo>
                  <a:pt x="563" y="105"/>
                  <a:pt x="562" y="104"/>
                  <a:pt x="561" y="103"/>
                </a:cubicBezTo>
                <a:cubicBezTo>
                  <a:pt x="560" y="102"/>
                  <a:pt x="559" y="101"/>
                  <a:pt x="558" y="100"/>
                </a:cubicBezTo>
                <a:cubicBezTo>
                  <a:pt x="557" y="99"/>
                  <a:pt x="555" y="99"/>
                  <a:pt x="554" y="98"/>
                </a:cubicBezTo>
                <a:cubicBezTo>
                  <a:pt x="553" y="98"/>
                  <a:pt x="553" y="97"/>
                  <a:pt x="552" y="97"/>
                </a:cubicBezTo>
                <a:cubicBezTo>
                  <a:pt x="551" y="97"/>
                  <a:pt x="551" y="97"/>
                  <a:pt x="550" y="97"/>
                </a:cubicBezTo>
                <a:cubicBezTo>
                  <a:pt x="549" y="97"/>
                  <a:pt x="547" y="97"/>
                  <a:pt x="546" y="97"/>
                </a:cubicBezTo>
                <a:cubicBezTo>
                  <a:pt x="544" y="97"/>
                  <a:pt x="543" y="97"/>
                  <a:pt x="542" y="97"/>
                </a:cubicBezTo>
                <a:cubicBezTo>
                  <a:pt x="541" y="97"/>
                  <a:pt x="541" y="97"/>
                  <a:pt x="540" y="97"/>
                </a:cubicBezTo>
                <a:cubicBezTo>
                  <a:pt x="539" y="97"/>
                  <a:pt x="539" y="98"/>
                  <a:pt x="538" y="98"/>
                </a:cubicBezTo>
                <a:cubicBezTo>
                  <a:pt x="537" y="99"/>
                  <a:pt x="535" y="99"/>
                  <a:pt x="534" y="100"/>
                </a:cubicBezTo>
                <a:cubicBezTo>
                  <a:pt x="533" y="101"/>
                  <a:pt x="532" y="102"/>
                  <a:pt x="531" y="103"/>
                </a:cubicBezTo>
                <a:cubicBezTo>
                  <a:pt x="530" y="104"/>
                  <a:pt x="529" y="105"/>
                  <a:pt x="528" y="106"/>
                </a:cubicBezTo>
                <a:cubicBezTo>
                  <a:pt x="527" y="107"/>
                  <a:pt x="527" y="108"/>
                  <a:pt x="526" y="110"/>
                </a:cubicBezTo>
                <a:cubicBezTo>
                  <a:pt x="526" y="111"/>
                  <a:pt x="525" y="111"/>
                  <a:pt x="525" y="112"/>
                </a:cubicBezTo>
                <a:cubicBezTo>
                  <a:pt x="470" y="318"/>
                  <a:pt x="470" y="318"/>
                  <a:pt x="470" y="318"/>
                </a:cubicBezTo>
                <a:cubicBezTo>
                  <a:pt x="326" y="318"/>
                  <a:pt x="326" y="318"/>
                  <a:pt x="326" y="318"/>
                </a:cubicBezTo>
                <a:cubicBezTo>
                  <a:pt x="323" y="318"/>
                  <a:pt x="320" y="319"/>
                  <a:pt x="317" y="320"/>
                </a:cubicBezTo>
                <a:cubicBezTo>
                  <a:pt x="315" y="321"/>
                  <a:pt x="312" y="323"/>
                  <a:pt x="310" y="325"/>
                </a:cubicBezTo>
                <a:cubicBezTo>
                  <a:pt x="310" y="325"/>
                  <a:pt x="310" y="325"/>
                  <a:pt x="310" y="325"/>
                </a:cubicBezTo>
                <a:cubicBezTo>
                  <a:pt x="230" y="406"/>
                  <a:pt x="122" y="452"/>
                  <a:pt x="8" y="454"/>
                </a:cubicBezTo>
                <a:cubicBezTo>
                  <a:pt x="5" y="468"/>
                  <a:pt x="4" y="483"/>
                  <a:pt x="2" y="497"/>
                </a:cubicBezTo>
                <a:cubicBezTo>
                  <a:pt x="3" y="497"/>
                  <a:pt x="3" y="497"/>
                  <a:pt x="3" y="497"/>
                </a:cubicBezTo>
                <a:cubicBezTo>
                  <a:pt x="3" y="497"/>
                  <a:pt x="3" y="497"/>
                  <a:pt x="3" y="497"/>
                </a:cubicBezTo>
                <a:cubicBezTo>
                  <a:pt x="125" y="497"/>
                  <a:pt x="239" y="451"/>
                  <a:pt x="328" y="368"/>
                </a:cubicBezTo>
                <a:cubicBezTo>
                  <a:pt x="439" y="433"/>
                  <a:pt x="439" y="433"/>
                  <a:pt x="439" y="433"/>
                </a:cubicBezTo>
                <a:cubicBezTo>
                  <a:pt x="305" y="934"/>
                  <a:pt x="305" y="934"/>
                  <a:pt x="305" y="934"/>
                </a:cubicBezTo>
                <a:cubicBezTo>
                  <a:pt x="302" y="946"/>
                  <a:pt x="309" y="957"/>
                  <a:pt x="320" y="961"/>
                </a:cubicBezTo>
                <a:cubicBezTo>
                  <a:pt x="322" y="961"/>
                  <a:pt x="324" y="961"/>
                  <a:pt x="326" y="961"/>
                </a:cubicBezTo>
                <a:cubicBezTo>
                  <a:pt x="335" y="961"/>
                  <a:pt x="344" y="955"/>
                  <a:pt x="347" y="945"/>
                </a:cubicBezTo>
                <a:cubicBezTo>
                  <a:pt x="358" y="903"/>
                  <a:pt x="358" y="903"/>
                  <a:pt x="358" y="903"/>
                </a:cubicBezTo>
                <a:cubicBezTo>
                  <a:pt x="546" y="794"/>
                  <a:pt x="546" y="794"/>
                  <a:pt x="546" y="794"/>
                </a:cubicBezTo>
                <a:cubicBezTo>
                  <a:pt x="734" y="903"/>
                  <a:pt x="734" y="903"/>
                  <a:pt x="734" y="903"/>
                </a:cubicBezTo>
                <a:cubicBezTo>
                  <a:pt x="745" y="945"/>
                  <a:pt x="745" y="945"/>
                  <a:pt x="745" y="945"/>
                </a:cubicBezTo>
                <a:cubicBezTo>
                  <a:pt x="748" y="955"/>
                  <a:pt x="757" y="961"/>
                  <a:pt x="766" y="961"/>
                </a:cubicBezTo>
                <a:cubicBezTo>
                  <a:pt x="768" y="961"/>
                  <a:pt x="770" y="961"/>
                  <a:pt x="772" y="961"/>
                </a:cubicBezTo>
                <a:cubicBezTo>
                  <a:pt x="783" y="957"/>
                  <a:pt x="790" y="946"/>
                  <a:pt x="787" y="934"/>
                </a:cubicBezTo>
                <a:cubicBezTo>
                  <a:pt x="653" y="433"/>
                  <a:pt x="653" y="433"/>
                  <a:pt x="653" y="433"/>
                </a:cubicBezTo>
                <a:cubicBezTo>
                  <a:pt x="764" y="368"/>
                  <a:pt x="764" y="368"/>
                  <a:pt x="764" y="368"/>
                </a:cubicBezTo>
                <a:cubicBezTo>
                  <a:pt x="852" y="451"/>
                  <a:pt x="966" y="496"/>
                  <a:pt x="1087" y="497"/>
                </a:cubicBezTo>
                <a:cubicBezTo>
                  <a:pt x="1087" y="497"/>
                  <a:pt x="1087" y="497"/>
                  <a:pt x="1087" y="497"/>
                </a:cubicBezTo>
                <a:cubicBezTo>
                  <a:pt x="1088" y="497"/>
                  <a:pt x="1089" y="497"/>
                  <a:pt x="1090" y="497"/>
                </a:cubicBezTo>
                <a:cubicBezTo>
                  <a:pt x="1088" y="482"/>
                  <a:pt x="1087" y="468"/>
                  <a:pt x="1084" y="454"/>
                </a:cubicBezTo>
                <a:close/>
                <a:moveTo>
                  <a:pt x="623" y="489"/>
                </a:moveTo>
                <a:cubicBezTo>
                  <a:pt x="589" y="469"/>
                  <a:pt x="589" y="469"/>
                  <a:pt x="589" y="469"/>
                </a:cubicBezTo>
                <a:cubicBezTo>
                  <a:pt x="614" y="455"/>
                  <a:pt x="614" y="455"/>
                  <a:pt x="614" y="455"/>
                </a:cubicBezTo>
                <a:lnTo>
                  <a:pt x="623" y="489"/>
                </a:lnTo>
                <a:close/>
                <a:moveTo>
                  <a:pt x="612" y="533"/>
                </a:moveTo>
                <a:cubicBezTo>
                  <a:pt x="546" y="571"/>
                  <a:pt x="546" y="571"/>
                  <a:pt x="546" y="571"/>
                </a:cubicBezTo>
                <a:cubicBezTo>
                  <a:pt x="480" y="533"/>
                  <a:pt x="480" y="533"/>
                  <a:pt x="480" y="533"/>
                </a:cubicBezTo>
                <a:cubicBezTo>
                  <a:pt x="546" y="494"/>
                  <a:pt x="546" y="494"/>
                  <a:pt x="546" y="494"/>
                </a:cubicBezTo>
                <a:lnTo>
                  <a:pt x="612" y="533"/>
                </a:lnTo>
                <a:close/>
                <a:moveTo>
                  <a:pt x="546" y="202"/>
                </a:moveTo>
                <a:cubicBezTo>
                  <a:pt x="577" y="318"/>
                  <a:pt x="577" y="318"/>
                  <a:pt x="577" y="318"/>
                </a:cubicBezTo>
                <a:cubicBezTo>
                  <a:pt x="515" y="318"/>
                  <a:pt x="515" y="318"/>
                  <a:pt x="515" y="318"/>
                </a:cubicBezTo>
                <a:lnTo>
                  <a:pt x="546" y="202"/>
                </a:lnTo>
                <a:close/>
                <a:moveTo>
                  <a:pt x="503" y="362"/>
                </a:moveTo>
                <a:cubicBezTo>
                  <a:pt x="589" y="362"/>
                  <a:pt x="589" y="362"/>
                  <a:pt x="589" y="362"/>
                </a:cubicBezTo>
                <a:cubicBezTo>
                  <a:pt x="602" y="412"/>
                  <a:pt x="602" y="412"/>
                  <a:pt x="602" y="412"/>
                </a:cubicBezTo>
                <a:cubicBezTo>
                  <a:pt x="546" y="444"/>
                  <a:pt x="546" y="444"/>
                  <a:pt x="546" y="444"/>
                </a:cubicBezTo>
                <a:cubicBezTo>
                  <a:pt x="490" y="412"/>
                  <a:pt x="490" y="412"/>
                  <a:pt x="490" y="412"/>
                </a:cubicBezTo>
                <a:lnTo>
                  <a:pt x="503" y="362"/>
                </a:lnTo>
                <a:close/>
                <a:moveTo>
                  <a:pt x="478" y="455"/>
                </a:moveTo>
                <a:cubicBezTo>
                  <a:pt x="503" y="469"/>
                  <a:pt x="503" y="469"/>
                  <a:pt x="503" y="469"/>
                </a:cubicBezTo>
                <a:cubicBezTo>
                  <a:pt x="469" y="489"/>
                  <a:pt x="469" y="489"/>
                  <a:pt x="469" y="489"/>
                </a:cubicBezTo>
                <a:lnTo>
                  <a:pt x="478" y="455"/>
                </a:lnTo>
                <a:close/>
                <a:moveTo>
                  <a:pt x="403" y="362"/>
                </a:moveTo>
                <a:cubicBezTo>
                  <a:pt x="458" y="362"/>
                  <a:pt x="458" y="362"/>
                  <a:pt x="458" y="362"/>
                </a:cubicBezTo>
                <a:cubicBezTo>
                  <a:pt x="451" y="389"/>
                  <a:pt x="451" y="389"/>
                  <a:pt x="451" y="389"/>
                </a:cubicBezTo>
                <a:lnTo>
                  <a:pt x="403" y="362"/>
                </a:lnTo>
                <a:close/>
                <a:moveTo>
                  <a:pt x="449" y="565"/>
                </a:moveTo>
                <a:cubicBezTo>
                  <a:pt x="503" y="596"/>
                  <a:pt x="503" y="596"/>
                  <a:pt x="503" y="596"/>
                </a:cubicBezTo>
                <a:cubicBezTo>
                  <a:pt x="429" y="639"/>
                  <a:pt x="429" y="639"/>
                  <a:pt x="429" y="639"/>
                </a:cubicBezTo>
                <a:lnTo>
                  <a:pt x="449" y="565"/>
                </a:lnTo>
                <a:close/>
                <a:moveTo>
                  <a:pt x="374" y="844"/>
                </a:moveTo>
                <a:cubicBezTo>
                  <a:pt x="408" y="715"/>
                  <a:pt x="408" y="715"/>
                  <a:pt x="408" y="715"/>
                </a:cubicBezTo>
                <a:cubicBezTo>
                  <a:pt x="503" y="769"/>
                  <a:pt x="503" y="769"/>
                  <a:pt x="503" y="769"/>
                </a:cubicBezTo>
                <a:lnTo>
                  <a:pt x="374" y="844"/>
                </a:lnTo>
                <a:close/>
                <a:moveTo>
                  <a:pt x="439" y="683"/>
                </a:moveTo>
                <a:cubicBezTo>
                  <a:pt x="546" y="621"/>
                  <a:pt x="546" y="621"/>
                  <a:pt x="546" y="621"/>
                </a:cubicBezTo>
                <a:cubicBezTo>
                  <a:pt x="653" y="683"/>
                  <a:pt x="653" y="683"/>
                  <a:pt x="653" y="683"/>
                </a:cubicBezTo>
                <a:cubicBezTo>
                  <a:pt x="546" y="744"/>
                  <a:pt x="546" y="744"/>
                  <a:pt x="546" y="744"/>
                </a:cubicBezTo>
                <a:lnTo>
                  <a:pt x="439" y="683"/>
                </a:lnTo>
                <a:close/>
                <a:moveTo>
                  <a:pt x="718" y="844"/>
                </a:moveTo>
                <a:cubicBezTo>
                  <a:pt x="589" y="769"/>
                  <a:pt x="589" y="769"/>
                  <a:pt x="589" y="769"/>
                </a:cubicBezTo>
                <a:cubicBezTo>
                  <a:pt x="684" y="715"/>
                  <a:pt x="684" y="715"/>
                  <a:pt x="684" y="715"/>
                </a:cubicBezTo>
                <a:lnTo>
                  <a:pt x="718" y="844"/>
                </a:lnTo>
                <a:close/>
                <a:moveTo>
                  <a:pt x="663" y="639"/>
                </a:moveTo>
                <a:cubicBezTo>
                  <a:pt x="589" y="596"/>
                  <a:pt x="589" y="596"/>
                  <a:pt x="589" y="596"/>
                </a:cubicBezTo>
                <a:cubicBezTo>
                  <a:pt x="643" y="565"/>
                  <a:pt x="643" y="565"/>
                  <a:pt x="643" y="565"/>
                </a:cubicBezTo>
                <a:lnTo>
                  <a:pt x="663" y="639"/>
                </a:lnTo>
                <a:close/>
                <a:moveTo>
                  <a:pt x="641" y="389"/>
                </a:moveTo>
                <a:cubicBezTo>
                  <a:pt x="634" y="362"/>
                  <a:pt x="634" y="362"/>
                  <a:pt x="634" y="362"/>
                </a:cubicBezTo>
                <a:cubicBezTo>
                  <a:pt x="689" y="362"/>
                  <a:pt x="689" y="362"/>
                  <a:pt x="689" y="362"/>
                </a:cubicBezTo>
                <a:lnTo>
                  <a:pt x="641" y="38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269"/>
          <p:cNvSpPr>
            <a:spLocks noEditPoints="1"/>
          </p:cNvSpPr>
          <p:nvPr/>
        </p:nvSpPr>
        <p:spPr bwMode="auto">
          <a:xfrm>
            <a:off x="3286406" y="1638554"/>
            <a:ext cx="615950" cy="617538"/>
          </a:xfrm>
          <a:custGeom>
            <a:avLst/>
            <a:gdLst/>
            <a:ahLst/>
            <a:cxnLst>
              <a:cxn ang="0">
                <a:pos x="1049" y="546"/>
              </a:cxn>
              <a:cxn ang="0">
                <a:pos x="43" y="546"/>
              </a:cxn>
              <a:cxn ang="0">
                <a:pos x="546" y="0"/>
              </a:cxn>
              <a:cxn ang="0">
                <a:pos x="546" y="1092"/>
              </a:cxn>
              <a:cxn ang="0">
                <a:pos x="546" y="0"/>
              </a:cxn>
              <a:cxn ang="0">
                <a:pos x="831" y="404"/>
              </a:cxn>
              <a:cxn ang="0">
                <a:pos x="810" y="709"/>
              </a:cxn>
              <a:cxn ang="0">
                <a:pos x="745" y="688"/>
              </a:cxn>
              <a:cxn ang="0">
                <a:pos x="766" y="383"/>
              </a:cxn>
              <a:cxn ang="0">
                <a:pos x="207" y="323"/>
              </a:cxn>
              <a:cxn ang="0">
                <a:pos x="538" y="165"/>
              </a:cxn>
              <a:cxn ang="0">
                <a:pos x="541" y="164"/>
              </a:cxn>
              <a:cxn ang="0">
                <a:pos x="546" y="163"/>
              </a:cxn>
              <a:cxn ang="0">
                <a:pos x="551" y="164"/>
              </a:cxn>
              <a:cxn ang="0">
                <a:pos x="554" y="165"/>
              </a:cxn>
              <a:cxn ang="0">
                <a:pos x="886" y="319"/>
              </a:cxn>
              <a:cxn ang="0">
                <a:pos x="864" y="340"/>
              </a:cxn>
              <a:cxn ang="0">
                <a:pos x="546" y="340"/>
              </a:cxn>
              <a:cxn ang="0">
                <a:pos x="207" y="323"/>
              </a:cxn>
              <a:cxn ang="0">
                <a:pos x="546" y="297"/>
              </a:cxn>
              <a:cxn ang="0">
                <a:pos x="546" y="217"/>
              </a:cxn>
              <a:cxn ang="0">
                <a:pos x="648" y="709"/>
              </a:cxn>
              <a:cxn ang="0">
                <a:pos x="670" y="404"/>
              </a:cxn>
              <a:cxn ang="0">
                <a:pos x="444" y="383"/>
              </a:cxn>
              <a:cxn ang="0">
                <a:pos x="422" y="688"/>
              </a:cxn>
              <a:cxn ang="0">
                <a:pos x="503" y="709"/>
              </a:cxn>
              <a:cxn ang="0">
                <a:pos x="546" y="489"/>
              </a:cxn>
              <a:cxn ang="0">
                <a:pos x="589" y="709"/>
              </a:cxn>
              <a:cxn ang="0">
                <a:pos x="228" y="787"/>
              </a:cxn>
              <a:cxn ang="0">
                <a:pos x="885" y="765"/>
              </a:cxn>
              <a:cxn ang="0">
                <a:pos x="228" y="744"/>
              </a:cxn>
              <a:cxn ang="0">
                <a:pos x="228" y="787"/>
              </a:cxn>
              <a:cxn ang="0">
                <a:pos x="173" y="816"/>
              </a:cxn>
              <a:cxn ang="0">
                <a:pos x="173" y="860"/>
              </a:cxn>
              <a:cxn ang="0">
                <a:pos x="941" y="838"/>
              </a:cxn>
              <a:cxn ang="0">
                <a:pos x="282" y="383"/>
              </a:cxn>
              <a:cxn ang="0">
                <a:pos x="261" y="688"/>
              </a:cxn>
              <a:cxn ang="0">
                <a:pos x="326" y="709"/>
              </a:cxn>
              <a:cxn ang="0">
                <a:pos x="347" y="404"/>
              </a:cxn>
              <a:cxn ang="0">
                <a:pos x="282" y="383"/>
              </a:cxn>
            </a:cxnLst>
            <a:rect l="0" t="0" r="r" b="b"/>
            <a:pathLst>
              <a:path w="1092" h="1092">
                <a:moveTo>
                  <a:pt x="546" y="43"/>
                </a:moveTo>
                <a:cubicBezTo>
                  <a:pt x="823" y="43"/>
                  <a:pt x="1049" y="269"/>
                  <a:pt x="1049" y="546"/>
                </a:cubicBezTo>
                <a:cubicBezTo>
                  <a:pt x="1049" y="823"/>
                  <a:pt x="823" y="1049"/>
                  <a:pt x="546" y="1049"/>
                </a:cubicBezTo>
                <a:cubicBezTo>
                  <a:pt x="269" y="1049"/>
                  <a:pt x="43" y="823"/>
                  <a:pt x="43" y="546"/>
                </a:cubicBezTo>
                <a:cubicBezTo>
                  <a:pt x="43" y="269"/>
                  <a:pt x="269" y="43"/>
                  <a:pt x="546" y="43"/>
                </a:cubicBezTo>
                <a:moveTo>
                  <a:pt x="546" y="0"/>
                </a:moveTo>
                <a:cubicBezTo>
                  <a:pt x="244" y="0"/>
                  <a:pt x="0" y="244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4"/>
                  <a:pt x="848" y="0"/>
                  <a:pt x="546" y="0"/>
                </a:cubicBezTo>
                <a:close/>
                <a:moveTo>
                  <a:pt x="810" y="383"/>
                </a:moveTo>
                <a:cubicBezTo>
                  <a:pt x="822" y="383"/>
                  <a:pt x="831" y="392"/>
                  <a:pt x="831" y="404"/>
                </a:cubicBezTo>
                <a:cubicBezTo>
                  <a:pt x="831" y="688"/>
                  <a:pt x="831" y="688"/>
                  <a:pt x="831" y="688"/>
                </a:cubicBezTo>
                <a:cubicBezTo>
                  <a:pt x="831" y="700"/>
                  <a:pt x="822" y="709"/>
                  <a:pt x="810" y="709"/>
                </a:cubicBezTo>
                <a:cubicBezTo>
                  <a:pt x="766" y="709"/>
                  <a:pt x="766" y="709"/>
                  <a:pt x="766" y="709"/>
                </a:cubicBezTo>
                <a:cubicBezTo>
                  <a:pt x="754" y="709"/>
                  <a:pt x="745" y="700"/>
                  <a:pt x="745" y="688"/>
                </a:cubicBezTo>
                <a:cubicBezTo>
                  <a:pt x="745" y="404"/>
                  <a:pt x="745" y="404"/>
                  <a:pt x="745" y="404"/>
                </a:cubicBezTo>
                <a:cubicBezTo>
                  <a:pt x="745" y="392"/>
                  <a:pt x="754" y="383"/>
                  <a:pt x="766" y="383"/>
                </a:cubicBezTo>
                <a:lnTo>
                  <a:pt x="810" y="383"/>
                </a:lnTo>
                <a:close/>
                <a:moveTo>
                  <a:pt x="207" y="323"/>
                </a:moveTo>
                <a:cubicBezTo>
                  <a:pt x="205" y="313"/>
                  <a:pt x="210" y="303"/>
                  <a:pt x="220" y="299"/>
                </a:cubicBezTo>
                <a:cubicBezTo>
                  <a:pt x="538" y="165"/>
                  <a:pt x="538" y="165"/>
                  <a:pt x="538" y="165"/>
                </a:cubicBezTo>
                <a:cubicBezTo>
                  <a:pt x="538" y="165"/>
                  <a:pt x="538" y="165"/>
                  <a:pt x="538" y="165"/>
                </a:cubicBezTo>
                <a:cubicBezTo>
                  <a:pt x="539" y="164"/>
                  <a:pt x="540" y="164"/>
                  <a:pt x="541" y="164"/>
                </a:cubicBezTo>
                <a:cubicBezTo>
                  <a:pt x="542" y="164"/>
                  <a:pt x="543" y="163"/>
                  <a:pt x="543" y="163"/>
                </a:cubicBezTo>
                <a:cubicBezTo>
                  <a:pt x="544" y="163"/>
                  <a:pt x="545" y="163"/>
                  <a:pt x="546" y="163"/>
                </a:cubicBezTo>
                <a:cubicBezTo>
                  <a:pt x="547" y="163"/>
                  <a:pt x="548" y="163"/>
                  <a:pt x="549" y="163"/>
                </a:cubicBezTo>
                <a:cubicBezTo>
                  <a:pt x="549" y="163"/>
                  <a:pt x="550" y="164"/>
                  <a:pt x="551" y="164"/>
                </a:cubicBezTo>
                <a:cubicBezTo>
                  <a:pt x="552" y="164"/>
                  <a:pt x="553" y="164"/>
                  <a:pt x="554" y="165"/>
                </a:cubicBezTo>
                <a:cubicBezTo>
                  <a:pt x="554" y="165"/>
                  <a:pt x="554" y="165"/>
                  <a:pt x="554" y="165"/>
                </a:cubicBezTo>
                <a:cubicBezTo>
                  <a:pt x="870" y="298"/>
                  <a:pt x="870" y="298"/>
                  <a:pt x="870" y="298"/>
                </a:cubicBezTo>
                <a:cubicBezTo>
                  <a:pt x="879" y="300"/>
                  <a:pt x="886" y="309"/>
                  <a:pt x="886" y="319"/>
                </a:cubicBezTo>
                <a:cubicBezTo>
                  <a:pt x="886" y="330"/>
                  <a:pt x="876" y="340"/>
                  <a:pt x="864" y="340"/>
                </a:cubicBezTo>
                <a:cubicBezTo>
                  <a:pt x="864" y="340"/>
                  <a:pt x="864" y="340"/>
                  <a:pt x="864" y="340"/>
                </a:cubicBezTo>
                <a:cubicBezTo>
                  <a:pt x="546" y="340"/>
                  <a:pt x="546" y="340"/>
                  <a:pt x="546" y="340"/>
                </a:cubicBezTo>
                <a:cubicBezTo>
                  <a:pt x="546" y="340"/>
                  <a:pt x="546" y="340"/>
                  <a:pt x="546" y="340"/>
                </a:cubicBezTo>
                <a:cubicBezTo>
                  <a:pt x="228" y="340"/>
                  <a:pt x="228" y="340"/>
                  <a:pt x="228" y="340"/>
                </a:cubicBezTo>
                <a:cubicBezTo>
                  <a:pt x="218" y="340"/>
                  <a:pt x="209" y="333"/>
                  <a:pt x="207" y="323"/>
                </a:cubicBezTo>
                <a:close/>
                <a:moveTo>
                  <a:pt x="506" y="257"/>
                </a:moveTo>
                <a:cubicBezTo>
                  <a:pt x="506" y="279"/>
                  <a:pt x="524" y="297"/>
                  <a:pt x="546" y="297"/>
                </a:cubicBezTo>
                <a:cubicBezTo>
                  <a:pt x="568" y="297"/>
                  <a:pt x="586" y="279"/>
                  <a:pt x="586" y="257"/>
                </a:cubicBezTo>
                <a:cubicBezTo>
                  <a:pt x="586" y="235"/>
                  <a:pt x="568" y="217"/>
                  <a:pt x="546" y="217"/>
                </a:cubicBezTo>
                <a:cubicBezTo>
                  <a:pt x="524" y="217"/>
                  <a:pt x="506" y="235"/>
                  <a:pt x="506" y="257"/>
                </a:cubicBezTo>
                <a:close/>
                <a:moveTo>
                  <a:pt x="648" y="709"/>
                </a:moveTo>
                <a:cubicBezTo>
                  <a:pt x="660" y="709"/>
                  <a:pt x="670" y="700"/>
                  <a:pt x="670" y="688"/>
                </a:cubicBezTo>
                <a:cubicBezTo>
                  <a:pt x="670" y="404"/>
                  <a:pt x="670" y="404"/>
                  <a:pt x="670" y="404"/>
                </a:cubicBezTo>
                <a:cubicBezTo>
                  <a:pt x="670" y="392"/>
                  <a:pt x="660" y="383"/>
                  <a:pt x="648" y="383"/>
                </a:cubicBezTo>
                <a:cubicBezTo>
                  <a:pt x="444" y="383"/>
                  <a:pt x="444" y="383"/>
                  <a:pt x="444" y="383"/>
                </a:cubicBezTo>
                <a:cubicBezTo>
                  <a:pt x="432" y="383"/>
                  <a:pt x="422" y="392"/>
                  <a:pt x="422" y="404"/>
                </a:cubicBezTo>
                <a:cubicBezTo>
                  <a:pt x="422" y="688"/>
                  <a:pt x="422" y="688"/>
                  <a:pt x="422" y="688"/>
                </a:cubicBezTo>
                <a:cubicBezTo>
                  <a:pt x="422" y="700"/>
                  <a:pt x="432" y="709"/>
                  <a:pt x="444" y="709"/>
                </a:cubicBezTo>
                <a:cubicBezTo>
                  <a:pt x="503" y="709"/>
                  <a:pt x="503" y="709"/>
                  <a:pt x="503" y="709"/>
                </a:cubicBezTo>
                <a:cubicBezTo>
                  <a:pt x="503" y="532"/>
                  <a:pt x="503" y="532"/>
                  <a:pt x="503" y="532"/>
                </a:cubicBezTo>
                <a:cubicBezTo>
                  <a:pt x="503" y="508"/>
                  <a:pt x="522" y="489"/>
                  <a:pt x="546" y="489"/>
                </a:cubicBezTo>
                <a:cubicBezTo>
                  <a:pt x="570" y="489"/>
                  <a:pt x="589" y="508"/>
                  <a:pt x="589" y="532"/>
                </a:cubicBezTo>
                <a:cubicBezTo>
                  <a:pt x="589" y="709"/>
                  <a:pt x="589" y="709"/>
                  <a:pt x="589" y="709"/>
                </a:cubicBezTo>
                <a:lnTo>
                  <a:pt x="648" y="709"/>
                </a:lnTo>
                <a:close/>
                <a:moveTo>
                  <a:pt x="228" y="787"/>
                </a:moveTo>
                <a:cubicBezTo>
                  <a:pt x="864" y="787"/>
                  <a:pt x="864" y="787"/>
                  <a:pt x="864" y="787"/>
                </a:cubicBezTo>
                <a:cubicBezTo>
                  <a:pt x="876" y="787"/>
                  <a:pt x="885" y="777"/>
                  <a:pt x="885" y="765"/>
                </a:cubicBezTo>
                <a:cubicBezTo>
                  <a:pt x="885" y="753"/>
                  <a:pt x="876" y="744"/>
                  <a:pt x="864" y="744"/>
                </a:cubicBezTo>
                <a:cubicBezTo>
                  <a:pt x="228" y="744"/>
                  <a:pt x="228" y="744"/>
                  <a:pt x="228" y="744"/>
                </a:cubicBezTo>
                <a:cubicBezTo>
                  <a:pt x="216" y="744"/>
                  <a:pt x="207" y="753"/>
                  <a:pt x="207" y="765"/>
                </a:cubicBezTo>
                <a:cubicBezTo>
                  <a:pt x="207" y="777"/>
                  <a:pt x="216" y="787"/>
                  <a:pt x="228" y="787"/>
                </a:cubicBezTo>
                <a:close/>
                <a:moveTo>
                  <a:pt x="919" y="816"/>
                </a:moveTo>
                <a:cubicBezTo>
                  <a:pt x="173" y="816"/>
                  <a:pt x="173" y="816"/>
                  <a:pt x="173" y="816"/>
                </a:cubicBezTo>
                <a:cubicBezTo>
                  <a:pt x="161" y="816"/>
                  <a:pt x="151" y="826"/>
                  <a:pt x="151" y="838"/>
                </a:cubicBezTo>
                <a:cubicBezTo>
                  <a:pt x="151" y="850"/>
                  <a:pt x="161" y="860"/>
                  <a:pt x="173" y="860"/>
                </a:cubicBezTo>
                <a:cubicBezTo>
                  <a:pt x="919" y="860"/>
                  <a:pt x="919" y="860"/>
                  <a:pt x="919" y="860"/>
                </a:cubicBezTo>
                <a:cubicBezTo>
                  <a:pt x="931" y="860"/>
                  <a:pt x="941" y="850"/>
                  <a:pt x="941" y="838"/>
                </a:cubicBezTo>
                <a:cubicBezTo>
                  <a:pt x="941" y="826"/>
                  <a:pt x="931" y="816"/>
                  <a:pt x="919" y="816"/>
                </a:cubicBezTo>
                <a:close/>
                <a:moveTo>
                  <a:pt x="282" y="383"/>
                </a:moveTo>
                <a:cubicBezTo>
                  <a:pt x="271" y="383"/>
                  <a:pt x="261" y="392"/>
                  <a:pt x="261" y="404"/>
                </a:cubicBezTo>
                <a:cubicBezTo>
                  <a:pt x="261" y="688"/>
                  <a:pt x="261" y="688"/>
                  <a:pt x="261" y="688"/>
                </a:cubicBezTo>
                <a:cubicBezTo>
                  <a:pt x="261" y="700"/>
                  <a:pt x="271" y="709"/>
                  <a:pt x="282" y="709"/>
                </a:cubicBezTo>
                <a:cubicBezTo>
                  <a:pt x="326" y="709"/>
                  <a:pt x="326" y="709"/>
                  <a:pt x="326" y="709"/>
                </a:cubicBezTo>
                <a:cubicBezTo>
                  <a:pt x="338" y="709"/>
                  <a:pt x="347" y="700"/>
                  <a:pt x="347" y="688"/>
                </a:cubicBezTo>
                <a:cubicBezTo>
                  <a:pt x="347" y="404"/>
                  <a:pt x="347" y="404"/>
                  <a:pt x="347" y="404"/>
                </a:cubicBezTo>
                <a:cubicBezTo>
                  <a:pt x="347" y="392"/>
                  <a:pt x="338" y="383"/>
                  <a:pt x="326" y="383"/>
                </a:cubicBezTo>
                <a:lnTo>
                  <a:pt x="282" y="38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266"/>
          <p:cNvSpPr>
            <a:spLocks noEditPoints="1"/>
          </p:cNvSpPr>
          <p:nvPr/>
        </p:nvSpPr>
        <p:spPr bwMode="auto">
          <a:xfrm>
            <a:off x="3286406" y="2356723"/>
            <a:ext cx="617538" cy="617538"/>
          </a:xfrm>
          <a:custGeom>
            <a:avLst/>
            <a:gdLst/>
            <a:ahLst/>
            <a:cxnLst>
              <a:cxn ang="0">
                <a:pos x="546" y="1049"/>
              </a:cxn>
              <a:cxn ang="0">
                <a:pos x="546" y="0"/>
              </a:cxn>
              <a:cxn ang="0">
                <a:pos x="1092" y="546"/>
              </a:cxn>
              <a:cxn ang="0">
                <a:pos x="941" y="501"/>
              </a:cxn>
              <a:cxn ang="0">
                <a:pos x="955" y="440"/>
              </a:cxn>
              <a:cxn ang="0">
                <a:pos x="889" y="387"/>
              </a:cxn>
              <a:cxn ang="0">
                <a:pos x="727" y="417"/>
              </a:cxn>
              <a:cxn ang="0">
                <a:pos x="592" y="389"/>
              </a:cxn>
              <a:cxn ang="0">
                <a:pos x="151" y="536"/>
              </a:cxn>
              <a:cxn ang="0">
                <a:pos x="205" y="586"/>
              </a:cxn>
              <a:cxn ang="0">
                <a:pos x="151" y="643"/>
              </a:cxn>
              <a:cxn ang="0">
                <a:pos x="137" y="704"/>
              </a:cxn>
              <a:cxn ang="0">
                <a:pos x="465" y="827"/>
              </a:cxn>
              <a:cxn ang="0">
                <a:pos x="727" y="836"/>
              </a:cxn>
              <a:cxn ang="0">
                <a:pos x="863" y="776"/>
              </a:cxn>
              <a:cxn ang="0">
                <a:pos x="586" y="773"/>
              </a:cxn>
              <a:cxn ang="0">
                <a:pos x="565" y="743"/>
              </a:cxn>
              <a:cxn ang="0">
                <a:pos x="199" y="701"/>
              </a:cxn>
              <a:cxn ang="0">
                <a:pos x="467" y="752"/>
              </a:cxn>
              <a:cxn ang="0">
                <a:pos x="727" y="759"/>
              </a:cxn>
              <a:cxn ang="0">
                <a:pos x="863" y="699"/>
              </a:cxn>
              <a:cxn ang="0">
                <a:pos x="589" y="697"/>
              </a:cxn>
              <a:cxn ang="0">
                <a:pos x="565" y="670"/>
              </a:cxn>
              <a:cxn ang="0">
                <a:pos x="248" y="641"/>
              </a:cxn>
              <a:cxn ang="0">
                <a:pos x="464" y="675"/>
              </a:cxn>
              <a:cxn ang="0">
                <a:pos x="568" y="632"/>
              </a:cxn>
              <a:cxn ang="0">
                <a:pos x="941" y="608"/>
              </a:cxn>
              <a:cxn ang="0">
                <a:pos x="887" y="559"/>
              </a:cxn>
              <a:cxn ang="0">
                <a:pos x="576" y="410"/>
              </a:cxn>
              <a:cxn ang="0">
                <a:pos x="889" y="433"/>
              </a:cxn>
              <a:cxn ang="0">
                <a:pos x="602" y="471"/>
              </a:cxn>
              <a:cxn ang="0">
                <a:pos x="565" y="433"/>
              </a:cxn>
              <a:cxn ang="0">
                <a:pos x="727" y="526"/>
              </a:cxn>
              <a:cxn ang="0">
                <a:pos x="886" y="521"/>
              </a:cxn>
              <a:cxn ang="0">
                <a:pos x="872" y="537"/>
              </a:cxn>
              <a:cxn ang="0">
                <a:pos x="602" y="549"/>
              </a:cxn>
              <a:cxn ang="0">
                <a:pos x="565" y="510"/>
              </a:cxn>
              <a:cxn ang="0">
                <a:pos x="428" y="569"/>
              </a:cxn>
              <a:cxn ang="0">
                <a:pos x="428" y="513"/>
              </a:cxn>
              <a:cxn ang="0">
                <a:pos x="889" y="588"/>
              </a:cxn>
              <a:cxn ang="0">
                <a:pos x="888" y="595"/>
              </a:cxn>
              <a:cxn ang="0">
                <a:pos x="884" y="603"/>
              </a:cxn>
              <a:cxn ang="0">
                <a:pos x="873" y="615"/>
              </a:cxn>
              <a:cxn ang="0">
                <a:pos x="592" y="621"/>
              </a:cxn>
              <a:cxn ang="0">
                <a:pos x="572" y="605"/>
              </a:cxn>
              <a:cxn ang="0">
                <a:pos x="565" y="588"/>
              </a:cxn>
              <a:cxn ang="0">
                <a:pos x="878" y="565"/>
              </a:cxn>
              <a:cxn ang="0">
                <a:pos x="889" y="519"/>
              </a:cxn>
              <a:cxn ang="0">
                <a:pos x="592" y="339"/>
              </a:cxn>
              <a:cxn ang="0">
                <a:pos x="889" y="305"/>
              </a:cxn>
              <a:cxn ang="0">
                <a:pos x="592" y="339"/>
              </a:cxn>
            </a:cxnLst>
            <a:rect l="0" t="0" r="r" b="b"/>
            <a:pathLst>
              <a:path w="1092" h="1092">
                <a:moveTo>
                  <a:pt x="546" y="43"/>
                </a:moveTo>
                <a:cubicBezTo>
                  <a:pt x="823" y="43"/>
                  <a:pt x="1049" y="269"/>
                  <a:pt x="1049" y="546"/>
                </a:cubicBezTo>
                <a:cubicBezTo>
                  <a:pt x="1049" y="823"/>
                  <a:pt x="823" y="1049"/>
                  <a:pt x="546" y="1049"/>
                </a:cubicBezTo>
                <a:cubicBezTo>
                  <a:pt x="269" y="1049"/>
                  <a:pt x="43" y="823"/>
                  <a:pt x="43" y="546"/>
                </a:cubicBezTo>
                <a:cubicBezTo>
                  <a:pt x="43" y="269"/>
                  <a:pt x="269" y="43"/>
                  <a:pt x="546" y="43"/>
                </a:cubicBezTo>
                <a:moveTo>
                  <a:pt x="546" y="0"/>
                </a:moveTo>
                <a:cubicBezTo>
                  <a:pt x="244" y="0"/>
                  <a:pt x="0" y="244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4"/>
                  <a:pt x="848" y="0"/>
                  <a:pt x="546" y="0"/>
                </a:cubicBezTo>
                <a:close/>
                <a:moveTo>
                  <a:pt x="953" y="516"/>
                </a:moveTo>
                <a:cubicBezTo>
                  <a:pt x="953" y="509"/>
                  <a:pt x="948" y="503"/>
                  <a:pt x="941" y="501"/>
                </a:cubicBezTo>
                <a:cubicBezTo>
                  <a:pt x="889" y="483"/>
                  <a:pt x="889" y="483"/>
                  <a:pt x="889" y="483"/>
                </a:cubicBezTo>
                <a:cubicBezTo>
                  <a:pt x="945" y="456"/>
                  <a:pt x="945" y="456"/>
                  <a:pt x="945" y="456"/>
                </a:cubicBezTo>
                <a:cubicBezTo>
                  <a:pt x="951" y="453"/>
                  <a:pt x="955" y="447"/>
                  <a:pt x="955" y="440"/>
                </a:cubicBezTo>
                <a:cubicBezTo>
                  <a:pt x="955" y="433"/>
                  <a:pt x="950" y="427"/>
                  <a:pt x="944" y="425"/>
                </a:cubicBezTo>
                <a:cubicBezTo>
                  <a:pt x="883" y="404"/>
                  <a:pt x="883" y="404"/>
                  <a:pt x="883" y="404"/>
                </a:cubicBezTo>
                <a:cubicBezTo>
                  <a:pt x="887" y="399"/>
                  <a:pt x="889" y="393"/>
                  <a:pt x="889" y="387"/>
                </a:cubicBezTo>
                <a:cubicBezTo>
                  <a:pt x="889" y="355"/>
                  <a:pt x="889" y="355"/>
                  <a:pt x="889" y="355"/>
                </a:cubicBezTo>
                <a:cubicBezTo>
                  <a:pt x="889" y="368"/>
                  <a:pt x="880" y="379"/>
                  <a:pt x="863" y="389"/>
                </a:cubicBezTo>
                <a:cubicBezTo>
                  <a:pt x="834" y="406"/>
                  <a:pt x="784" y="417"/>
                  <a:pt x="727" y="417"/>
                </a:cubicBezTo>
                <a:cubicBezTo>
                  <a:pt x="676" y="417"/>
                  <a:pt x="631" y="408"/>
                  <a:pt x="602" y="394"/>
                </a:cubicBezTo>
                <a:cubicBezTo>
                  <a:pt x="602" y="394"/>
                  <a:pt x="602" y="394"/>
                  <a:pt x="602" y="394"/>
                </a:cubicBezTo>
                <a:cubicBezTo>
                  <a:pt x="598" y="392"/>
                  <a:pt x="595" y="391"/>
                  <a:pt x="592" y="389"/>
                </a:cubicBezTo>
                <a:cubicBezTo>
                  <a:pt x="575" y="379"/>
                  <a:pt x="565" y="368"/>
                  <a:pt x="565" y="355"/>
                </a:cubicBezTo>
                <a:cubicBezTo>
                  <a:pt x="565" y="351"/>
                  <a:pt x="566" y="346"/>
                  <a:pt x="569" y="342"/>
                </a:cubicBezTo>
                <a:cubicBezTo>
                  <a:pt x="151" y="536"/>
                  <a:pt x="151" y="536"/>
                  <a:pt x="151" y="536"/>
                </a:cubicBezTo>
                <a:cubicBezTo>
                  <a:pt x="145" y="539"/>
                  <a:pt x="141" y="545"/>
                  <a:pt x="141" y="552"/>
                </a:cubicBezTo>
                <a:cubicBezTo>
                  <a:pt x="142" y="559"/>
                  <a:pt x="146" y="565"/>
                  <a:pt x="153" y="567"/>
                </a:cubicBezTo>
                <a:cubicBezTo>
                  <a:pt x="205" y="586"/>
                  <a:pt x="205" y="586"/>
                  <a:pt x="205" y="586"/>
                </a:cubicBezTo>
                <a:cubicBezTo>
                  <a:pt x="149" y="612"/>
                  <a:pt x="149" y="612"/>
                  <a:pt x="149" y="612"/>
                </a:cubicBezTo>
                <a:cubicBezTo>
                  <a:pt x="143" y="615"/>
                  <a:pt x="139" y="621"/>
                  <a:pt x="139" y="628"/>
                </a:cubicBezTo>
                <a:cubicBezTo>
                  <a:pt x="139" y="635"/>
                  <a:pt x="144" y="641"/>
                  <a:pt x="151" y="643"/>
                </a:cubicBezTo>
                <a:cubicBezTo>
                  <a:pt x="203" y="661"/>
                  <a:pt x="203" y="661"/>
                  <a:pt x="203" y="661"/>
                </a:cubicBezTo>
                <a:cubicBezTo>
                  <a:pt x="147" y="688"/>
                  <a:pt x="147" y="688"/>
                  <a:pt x="147" y="688"/>
                </a:cubicBezTo>
                <a:cubicBezTo>
                  <a:pt x="141" y="691"/>
                  <a:pt x="137" y="697"/>
                  <a:pt x="137" y="704"/>
                </a:cubicBezTo>
                <a:cubicBezTo>
                  <a:pt x="137" y="711"/>
                  <a:pt x="142" y="717"/>
                  <a:pt x="148" y="719"/>
                </a:cubicBezTo>
                <a:cubicBezTo>
                  <a:pt x="459" y="827"/>
                  <a:pt x="459" y="827"/>
                  <a:pt x="459" y="827"/>
                </a:cubicBezTo>
                <a:cubicBezTo>
                  <a:pt x="461" y="827"/>
                  <a:pt x="463" y="827"/>
                  <a:pt x="465" y="827"/>
                </a:cubicBezTo>
                <a:cubicBezTo>
                  <a:pt x="467" y="827"/>
                  <a:pt x="470" y="827"/>
                  <a:pt x="472" y="826"/>
                </a:cubicBezTo>
                <a:cubicBezTo>
                  <a:pt x="566" y="782"/>
                  <a:pt x="566" y="782"/>
                  <a:pt x="566" y="782"/>
                </a:cubicBezTo>
                <a:cubicBezTo>
                  <a:pt x="576" y="813"/>
                  <a:pt x="644" y="836"/>
                  <a:pt x="727" y="836"/>
                </a:cubicBezTo>
                <a:cubicBezTo>
                  <a:pt x="817" y="836"/>
                  <a:pt x="889" y="809"/>
                  <a:pt x="889" y="775"/>
                </a:cubicBezTo>
                <a:cubicBezTo>
                  <a:pt x="889" y="743"/>
                  <a:pt x="889" y="743"/>
                  <a:pt x="889" y="743"/>
                </a:cubicBezTo>
                <a:cubicBezTo>
                  <a:pt x="889" y="755"/>
                  <a:pt x="880" y="767"/>
                  <a:pt x="863" y="776"/>
                </a:cubicBezTo>
                <a:cubicBezTo>
                  <a:pt x="834" y="793"/>
                  <a:pt x="784" y="804"/>
                  <a:pt x="727" y="804"/>
                </a:cubicBezTo>
                <a:cubicBezTo>
                  <a:pt x="670" y="804"/>
                  <a:pt x="621" y="793"/>
                  <a:pt x="592" y="776"/>
                </a:cubicBezTo>
                <a:cubicBezTo>
                  <a:pt x="590" y="775"/>
                  <a:pt x="588" y="774"/>
                  <a:pt x="586" y="773"/>
                </a:cubicBezTo>
                <a:cubicBezTo>
                  <a:pt x="586" y="773"/>
                  <a:pt x="586" y="773"/>
                  <a:pt x="586" y="773"/>
                </a:cubicBezTo>
                <a:cubicBezTo>
                  <a:pt x="574" y="765"/>
                  <a:pt x="566" y="755"/>
                  <a:pt x="565" y="745"/>
                </a:cubicBezTo>
                <a:cubicBezTo>
                  <a:pt x="565" y="744"/>
                  <a:pt x="565" y="744"/>
                  <a:pt x="565" y="743"/>
                </a:cubicBezTo>
                <a:cubicBezTo>
                  <a:pt x="565" y="745"/>
                  <a:pt x="565" y="745"/>
                  <a:pt x="565" y="745"/>
                </a:cubicBezTo>
                <a:cubicBezTo>
                  <a:pt x="464" y="792"/>
                  <a:pt x="464" y="792"/>
                  <a:pt x="464" y="792"/>
                </a:cubicBezTo>
                <a:cubicBezTo>
                  <a:pt x="199" y="701"/>
                  <a:pt x="199" y="701"/>
                  <a:pt x="199" y="701"/>
                </a:cubicBezTo>
                <a:cubicBezTo>
                  <a:pt x="250" y="677"/>
                  <a:pt x="250" y="677"/>
                  <a:pt x="250" y="677"/>
                </a:cubicBezTo>
                <a:cubicBezTo>
                  <a:pt x="461" y="751"/>
                  <a:pt x="461" y="751"/>
                  <a:pt x="461" y="751"/>
                </a:cubicBezTo>
                <a:cubicBezTo>
                  <a:pt x="463" y="751"/>
                  <a:pt x="465" y="752"/>
                  <a:pt x="467" y="752"/>
                </a:cubicBezTo>
                <a:cubicBezTo>
                  <a:pt x="469" y="752"/>
                  <a:pt x="472" y="751"/>
                  <a:pt x="474" y="750"/>
                </a:cubicBezTo>
                <a:cubicBezTo>
                  <a:pt x="567" y="707"/>
                  <a:pt x="567" y="707"/>
                  <a:pt x="567" y="707"/>
                </a:cubicBezTo>
                <a:cubicBezTo>
                  <a:pt x="579" y="736"/>
                  <a:pt x="646" y="759"/>
                  <a:pt x="727" y="759"/>
                </a:cubicBezTo>
                <a:cubicBezTo>
                  <a:pt x="817" y="759"/>
                  <a:pt x="889" y="731"/>
                  <a:pt x="889" y="698"/>
                </a:cubicBezTo>
                <a:cubicBezTo>
                  <a:pt x="889" y="665"/>
                  <a:pt x="889" y="665"/>
                  <a:pt x="889" y="665"/>
                </a:cubicBezTo>
                <a:cubicBezTo>
                  <a:pt x="889" y="678"/>
                  <a:pt x="880" y="689"/>
                  <a:pt x="863" y="699"/>
                </a:cubicBezTo>
                <a:cubicBezTo>
                  <a:pt x="834" y="716"/>
                  <a:pt x="784" y="727"/>
                  <a:pt x="727" y="727"/>
                </a:cubicBezTo>
                <a:cubicBezTo>
                  <a:pt x="670" y="727"/>
                  <a:pt x="621" y="716"/>
                  <a:pt x="592" y="699"/>
                </a:cubicBezTo>
                <a:cubicBezTo>
                  <a:pt x="591" y="698"/>
                  <a:pt x="590" y="698"/>
                  <a:pt x="589" y="697"/>
                </a:cubicBezTo>
                <a:cubicBezTo>
                  <a:pt x="576" y="689"/>
                  <a:pt x="568" y="680"/>
                  <a:pt x="566" y="670"/>
                </a:cubicBezTo>
                <a:cubicBezTo>
                  <a:pt x="566" y="668"/>
                  <a:pt x="565" y="667"/>
                  <a:pt x="565" y="665"/>
                </a:cubicBezTo>
                <a:cubicBezTo>
                  <a:pt x="565" y="670"/>
                  <a:pt x="565" y="670"/>
                  <a:pt x="565" y="670"/>
                </a:cubicBezTo>
                <a:cubicBezTo>
                  <a:pt x="466" y="716"/>
                  <a:pt x="466" y="716"/>
                  <a:pt x="466" y="716"/>
                </a:cubicBezTo>
                <a:cubicBezTo>
                  <a:pt x="294" y="657"/>
                  <a:pt x="294" y="657"/>
                  <a:pt x="294" y="657"/>
                </a:cubicBezTo>
                <a:cubicBezTo>
                  <a:pt x="248" y="641"/>
                  <a:pt x="248" y="641"/>
                  <a:pt x="248" y="641"/>
                </a:cubicBezTo>
                <a:cubicBezTo>
                  <a:pt x="201" y="625"/>
                  <a:pt x="201" y="625"/>
                  <a:pt x="201" y="625"/>
                </a:cubicBezTo>
                <a:cubicBezTo>
                  <a:pt x="252" y="602"/>
                  <a:pt x="252" y="602"/>
                  <a:pt x="252" y="602"/>
                </a:cubicBezTo>
                <a:cubicBezTo>
                  <a:pt x="464" y="675"/>
                  <a:pt x="464" y="675"/>
                  <a:pt x="464" y="675"/>
                </a:cubicBezTo>
                <a:cubicBezTo>
                  <a:pt x="465" y="675"/>
                  <a:pt x="467" y="676"/>
                  <a:pt x="469" y="676"/>
                </a:cubicBezTo>
                <a:cubicBezTo>
                  <a:pt x="472" y="676"/>
                  <a:pt x="474" y="675"/>
                  <a:pt x="476" y="674"/>
                </a:cubicBezTo>
                <a:cubicBezTo>
                  <a:pt x="568" y="632"/>
                  <a:pt x="568" y="632"/>
                  <a:pt x="568" y="632"/>
                </a:cubicBezTo>
                <a:cubicBezTo>
                  <a:pt x="582" y="660"/>
                  <a:pt x="648" y="681"/>
                  <a:pt x="727" y="681"/>
                </a:cubicBezTo>
                <a:cubicBezTo>
                  <a:pt x="804" y="681"/>
                  <a:pt x="868" y="661"/>
                  <a:pt x="885" y="634"/>
                </a:cubicBezTo>
                <a:cubicBezTo>
                  <a:pt x="941" y="608"/>
                  <a:pt x="941" y="608"/>
                  <a:pt x="941" y="608"/>
                </a:cubicBezTo>
                <a:cubicBezTo>
                  <a:pt x="947" y="605"/>
                  <a:pt x="951" y="599"/>
                  <a:pt x="951" y="592"/>
                </a:cubicBezTo>
                <a:cubicBezTo>
                  <a:pt x="950" y="585"/>
                  <a:pt x="946" y="579"/>
                  <a:pt x="939" y="577"/>
                </a:cubicBezTo>
                <a:cubicBezTo>
                  <a:pt x="887" y="559"/>
                  <a:pt x="887" y="559"/>
                  <a:pt x="887" y="559"/>
                </a:cubicBezTo>
                <a:cubicBezTo>
                  <a:pt x="943" y="532"/>
                  <a:pt x="943" y="532"/>
                  <a:pt x="943" y="532"/>
                </a:cubicBezTo>
                <a:cubicBezTo>
                  <a:pt x="949" y="529"/>
                  <a:pt x="953" y="523"/>
                  <a:pt x="953" y="516"/>
                </a:cubicBezTo>
                <a:close/>
                <a:moveTo>
                  <a:pt x="576" y="410"/>
                </a:moveTo>
                <a:cubicBezTo>
                  <a:pt x="600" y="433"/>
                  <a:pt x="659" y="449"/>
                  <a:pt x="727" y="449"/>
                </a:cubicBezTo>
                <a:cubicBezTo>
                  <a:pt x="796" y="449"/>
                  <a:pt x="854" y="433"/>
                  <a:pt x="878" y="410"/>
                </a:cubicBezTo>
                <a:cubicBezTo>
                  <a:pt x="885" y="417"/>
                  <a:pt x="889" y="425"/>
                  <a:pt x="889" y="433"/>
                </a:cubicBezTo>
                <a:cubicBezTo>
                  <a:pt x="889" y="445"/>
                  <a:pt x="880" y="457"/>
                  <a:pt x="863" y="466"/>
                </a:cubicBezTo>
                <a:cubicBezTo>
                  <a:pt x="834" y="483"/>
                  <a:pt x="784" y="494"/>
                  <a:pt x="727" y="494"/>
                </a:cubicBezTo>
                <a:cubicBezTo>
                  <a:pt x="676" y="494"/>
                  <a:pt x="631" y="485"/>
                  <a:pt x="602" y="471"/>
                </a:cubicBezTo>
                <a:cubicBezTo>
                  <a:pt x="602" y="471"/>
                  <a:pt x="602" y="471"/>
                  <a:pt x="602" y="471"/>
                </a:cubicBezTo>
                <a:cubicBezTo>
                  <a:pt x="598" y="470"/>
                  <a:pt x="595" y="468"/>
                  <a:pt x="592" y="466"/>
                </a:cubicBezTo>
                <a:cubicBezTo>
                  <a:pt x="575" y="457"/>
                  <a:pt x="565" y="445"/>
                  <a:pt x="565" y="433"/>
                </a:cubicBezTo>
                <a:cubicBezTo>
                  <a:pt x="565" y="425"/>
                  <a:pt x="569" y="417"/>
                  <a:pt x="576" y="410"/>
                </a:cubicBezTo>
                <a:close/>
                <a:moveTo>
                  <a:pt x="576" y="488"/>
                </a:moveTo>
                <a:cubicBezTo>
                  <a:pt x="600" y="510"/>
                  <a:pt x="659" y="526"/>
                  <a:pt x="727" y="526"/>
                </a:cubicBezTo>
                <a:cubicBezTo>
                  <a:pt x="796" y="526"/>
                  <a:pt x="854" y="510"/>
                  <a:pt x="878" y="488"/>
                </a:cubicBezTo>
                <a:cubicBezTo>
                  <a:pt x="885" y="495"/>
                  <a:pt x="889" y="502"/>
                  <a:pt x="889" y="510"/>
                </a:cubicBezTo>
                <a:cubicBezTo>
                  <a:pt x="889" y="514"/>
                  <a:pt x="888" y="518"/>
                  <a:pt x="886" y="521"/>
                </a:cubicBezTo>
                <a:cubicBezTo>
                  <a:pt x="885" y="525"/>
                  <a:pt x="883" y="528"/>
                  <a:pt x="880" y="531"/>
                </a:cubicBezTo>
                <a:cubicBezTo>
                  <a:pt x="878" y="532"/>
                  <a:pt x="877" y="533"/>
                  <a:pt x="876" y="535"/>
                </a:cubicBezTo>
                <a:cubicBezTo>
                  <a:pt x="875" y="536"/>
                  <a:pt x="874" y="537"/>
                  <a:pt x="872" y="537"/>
                </a:cubicBezTo>
                <a:cubicBezTo>
                  <a:pt x="869" y="540"/>
                  <a:pt x="866" y="542"/>
                  <a:pt x="863" y="544"/>
                </a:cubicBezTo>
                <a:cubicBezTo>
                  <a:pt x="834" y="561"/>
                  <a:pt x="784" y="572"/>
                  <a:pt x="727" y="572"/>
                </a:cubicBezTo>
                <a:cubicBezTo>
                  <a:pt x="676" y="572"/>
                  <a:pt x="631" y="563"/>
                  <a:pt x="602" y="549"/>
                </a:cubicBezTo>
                <a:cubicBezTo>
                  <a:pt x="602" y="549"/>
                  <a:pt x="602" y="549"/>
                  <a:pt x="602" y="549"/>
                </a:cubicBezTo>
                <a:cubicBezTo>
                  <a:pt x="598" y="547"/>
                  <a:pt x="595" y="546"/>
                  <a:pt x="592" y="544"/>
                </a:cubicBezTo>
                <a:cubicBezTo>
                  <a:pt x="575" y="534"/>
                  <a:pt x="565" y="523"/>
                  <a:pt x="565" y="510"/>
                </a:cubicBezTo>
                <a:cubicBezTo>
                  <a:pt x="565" y="502"/>
                  <a:pt x="569" y="495"/>
                  <a:pt x="576" y="488"/>
                </a:cubicBezTo>
                <a:close/>
                <a:moveTo>
                  <a:pt x="491" y="557"/>
                </a:moveTo>
                <a:cubicBezTo>
                  <a:pt x="477" y="564"/>
                  <a:pt x="454" y="569"/>
                  <a:pt x="428" y="569"/>
                </a:cubicBezTo>
                <a:cubicBezTo>
                  <a:pt x="402" y="569"/>
                  <a:pt x="379" y="564"/>
                  <a:pt x="365" y="557"/>
                </a:cubicBezTo>
                <a:cubicBezTo>
                  <a:pt x="358" y="552"/>
                  <a:pt x="353" y="547"/>
                  <a:pt x="353" y="541"/>
                </a:cubicBezTo>
                <a:cubicBezTo>
                  <a:pt x="353" y="525"/>
                  <a:pt x="387" y="513"/>
                  <a:pt x="428" y="513"/>
                </a:cubicBezTo>
                <a:cubicBezTo>
                  <a:pt x="469" y="513"/>
                  <a:pt x="503" y="525"/>
                  <a:pt x="503" y="541"/>
                </a:cubicBezTo>
                <a:cubicBezTo>
                  <a:pt x="503" y="547"/>
                  <a:pt x="498" y="552"/>
                  <a:pt x="491" y="557"/>
                </a:cubicBezTo>
                <a:close/>
                <a:moveTo>
                  <a:pt x="889" y="588"/>
                </a:moveTo>
                <a:cubicBezTo>
                  <a:pt x="889" y="590"/>
                  <a:pt x="889" y="593"/>
                  <a:pt x="888" y="595"/>
                </a:cubicBezTo>
                <a:cubicBezTo>
                  <a:pt x="888" y="595"/>
                  <a:pt x="888" y="595"/>
                  <a:pt x="888" y="595"/>
                </a:cubicBezTo>
                <a:cubicBezTo>
                  <a:pt x="888" y="595"/>
                  <a:pt x="888" y="595"/>
                  <a:pt x="888" y="595"/>
                </a:cubicBezTo>
                <a:cubicBezTo>
                  <a:pt x="888" y="595"/>
                  <a:pt x="888" y="595"/>
                  <a:pt x="888" y="595"/>
                </a:cubicBezTo>
                <a:cubicBezTo>
                  <a:pt x="887" y="597"/>
                  <a:pt x="886" y="599"/>
                  <a:pt x="885" y="601"/>
                </a:cubicBezTo>
                <a:cubicBezTo>
                  <a:pt x="885" y="602"/>
                  <a:pt x="884" y="602"/>
                  <a:pt x="884" y="603"/>
                </a:cubicBezTo>
                <a:cubicBezTo>
                  <a:pt x="883" y="605"/>
                  <a:pt x="882" y="606"/>
                  <a:pt x="880" y="608"/>
                </a:cubicBezTo>
                <a:cubicBezTo>
                  <a:pt x="879" y="609"/>
                  <a:pt x="878" y="610"/>
                  <a:pt x="876" y="612"/>
                </a:cubicBezTo>
                <a:cubicBezTo>
                  <a:pt x="875" y="613"/>
                  <a:pt x="874" y="614"/>
                  <a:pt x="873" y="615"/>
                </a:cubicBezTo>
                <a:cubicBezTo>
                  <a:pt x="870" y="617"/>
                  <a:pt x="866" y="619"/>
                  <a:pt x="863" y="621"/>
                </a:cubicBezTo>
                <a:cubicBezTo>
                  <a:pt x="834" y="638"/>
                  <a:pt x="784" y="649"/>
                  <a:pt x="727" y="649"/>
                </a:cubicBezTo>
                <a:cubicBezTo>
                  <a:pt x="670" y="649"/>
                  <a:pt x="621" y="638"/>
                  <a:pt x="592" y="621"/>
                </a:cubicBezTo>
                <a:cubicBezTo>
                  <a:pt x="591" y="621"/>
                  <a:pt x="591" y="621"/>
                  <a:pt x="591" y="621"/>
                </a:cubicBezTo>
                <a:cubicBezTo>
                  <a:pt x="591" y="621"/>
                  <a:pt x="591" y="621"/>
                  <a:pt x="591" y="621"/>
                </a:cubicBezTo>
                <a:cubicBezTo>
                  <a:pt x="583" y="616"/>
                  <a:pt x="576" y="611"/>
                  <a:pt x="572" y="605"/>
                </a:cubicBezTo>
                <a:cubicBezTo>
                  <a:pt x="571" y="605"/>
                  <a:pt x="571" y="604"/>
                  <a:pt x="571" y="604"/>
                </a:cubicBezTo>
                <a:cubicBezTo>
                  <a:pt x="569" y="602"/>
                  <a:pt x="568" y="599"/>
                  <a:pt x="567" y="597"/>
                </a:cubicBezTo>
                <a:cubicBezTo>
                  <a:pt x="566" y="594"/>
                  <a:pt x="565" y="591"/>
                  <a:pt x="565" y="588"/>
                </a:cubicBezTo>
                <a:cubicBezTo>
                  <a:pt x="565" y="580"/>
                  <a:pt x="569" y="572"/>
                  <a:pt x="576" y="565"/>
                </a:cubicBezTo>
                <a:cubicBezTo>
                  <a:pt x="600" y="588"/>
                  <a:pt x="659" y="604"/>
                  <a:pt x="727" y="604"/>
                </a:cubicBezTo>
                <a:cubicBezTo>
                  <a:pt x="796" y="604"/>
                  <a:pt x="854" y="588"/>
                  <a:pt x="878" y="565"/>
                </a:cubicBezTo>
                <a:cubicBezTo>
                  <a:pt x="885" y="572"/>
                  <a:pt x="889" y="580"/>
                  <a:pt x="889" y="588"/>
                </a:cubicBezTo>
                <a:close/>
                <a:moveTo>
                  <a:pt x="889" y="520"/>
                </a:moveTo>
                <a:cubicBezTo>
                  <a:pt x="889" y="519"/>
                  <a:pt x="889" y="519"/>
                  <a:pt x="889" y="519"/>
                </a:cubicBezTo>
                <a:cubicBezTo>
                  <a:pt x="891" y="519"/>
                  <a:pt x="891" y="519"/>
                  <a:pt x="891" y="519"/>
                </a:cubicBezTo>
                <a:lnTo>
                  <a:pt x="889" y="520"/>
                </a:lnTo>
                <a:close/>
                <a:moveTo>
                  <a:pt x="592" y="339"/>
                </a:moveTo>
                <a:cubicBezTo>
                  <a:pt x="621" y="356"/>
                  <a:pt x="670" y="367"/>
                  <a:pt x="727" y="367"/>
                </a:cubicBezTo>
                <a:cubicBezTo>
                  <a:pt x="784" y="367"/>
                  <a:pt x="834" y="356"/>
                  <a:pt x="863" y="339"/>
                </a:cubicBezTo>
                <a:cubicBezTo>
                  <a:pt x="880" y="329"/>
                  <a:pt x="889" y="318"/>
                  <a:pt x="889" y="305"/>
                </a:cubicBezTo>
                <a:cubicBezTo>
                  <a:pt x="889" y="271"/>
                  <a:pt x="817" y="244"/>
                  <a:pt x="727" y="244"/>
                </a:cubicBezTo>
                <a:cubicBezTo>
                  <a:pt x="638" y="244"/>
                  <a:pt x="565" y="271"/>
                  <a:pt x="565" y="305"/>
                </a:cubicBezTo>
                <a:cubicBezTo>
                  <a:pt x="565" y="318"/>
                  <a:pt x="575" y="329"/>
                  <a:pt x="592" y="33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302"/>
          <p:cNvSpPr>
            <a:spLocks noEditPoints="1"/>
          </p:cNvSpPr>
          <p:nvPr/>
        </p:nvSpPr>
        <p:spPr bwMode="auto">
          <a:xfrm>
            <a:off x="7874666" y="3577944"/>
            <a:ext cx="615950" cy="617538"/>
          </a:xfrm>
          <a:custGeom>
            <a:avLst/>
            <a:gdLst/>
            <a:ahLst/>
            <a:cxnLst>
              <a:cxn ang="0">
                <a:pos x="546" y="44"/>
              </a:cxn>
              <a:cxn ang="0">
                <a:pos x="1048" y="546"/>
              </a:cxn>
              <a:cxn ang="0">
                <a:pos x="546" y="1049"/>
              </a:cxn>
              <a:cxn ang="0">
                <a:pos x="43" y="546"/>
              </a:cxn>
              <a:cxn ang="0">
                <a:pos x="546" y="44"/>
              </a:cxn>
              <a:cxn ang="0">
                <a:pos x="546" y="0"/>
              </a:cxn>
              <a:cxn ang="0">
                <a:pos x="0" y="546"/>
              </a:cxn>
              <a:cxn ang="0">
                <a:pos x="546" y="1092"/>
              </a:cxn>
              <a:cxn ang="0">
                <a:pos x="1092" y="546"/>
              </a:cxn>
              <a:cxn ang="0">
                <a:pos x="546" y="0"/>
              </a:cxn>
              <a:cxn ang="0">
                <a:pos x="832" y="442"/>
              </a:cxn>
              <a:cxn ang="0">
                <a:pos x="819" y="470"/>
              </a:cxn>
              <a:cxn ang="0">
                <a:pos x="791" y="457"/>
              </a:cxn>
              <a:cxn ang="0">
                <a:pos x="546" y="285"/>
              </a:cxn>
              <a:cxn ang="0">
                <a:pos x="300" y="457"/>
              </a:cxn>
              <a:cxn ang="0">
                <a:pos x="280" y="471"/>
              </a:cxn>
              <a:cxn ang="0">
                <a:pos x="272" y="470"/>
              </a:cxn>
              <a:cxn ang="0">
                <a:pos x="259" y="442"/>
              </a:cxn>
              <a:cxn ang="0">
                <a:pos x="546" y="241"/>
              </a:cxn>
              <a:cxn ang="0">
                <a:pos x="832" y="442"/>
              </a:cxn>
              <a:cxn ang="0">
                <a:pos x="375" y="507"/>
              </a:cxn>
              <a:cxn ang="0">
                <a:pos x="382" y="508"/>
              </a:cxn>
              <a:cxn ang="0">
                <a:pos x="402" y="494"/>
              </a:cxn>
              <a:cxn ang="0">
                <a:pos x="546" y="394"/>
              </a:cxn>
              <a:cxn ang="0">
                <a:pos x="689" y="494"/>
              </a:cxn>
              <a:cxn ang="0">
                <a:pos x="717" y="507"/>
              </a:cxn>
              <a:cxn ang="0">
                <a:pos x="730" y="479"/>
              </a:cxn>
              <a:cxn ang="0">
                <a:pos x="546" y="350"/>
              </a:cxn>
              <a:cxn ang="0">
                <a:pos x="362" y="479"/>
              </a:cxn>
              <a:cxn ang="0">
                <a:pos x="375" y="507"/>
              </a:cxn>
              <a:cxn ang="0">
                <a:pos x="933" y="405"/>
              </a:cxn>
              <a:cxn ang="0">
                <a:pos x="546" y="134"/>
              </a:cxn>
              <a:cxn ang="0">
                <a:pos x="159" y="405"/>
              </a:cxn>
              <a:cxn ang="0">
                <a:pos x="172" y="433"/>
              </a:cxn>
              <a:cxn ang="0">
                <a:pos x="179" y="434"/>
              </a:cxn>
              <a:cxn ang="0">
                <a:pos x="199" y="420"/>
              </a:cxn>
              <a:cxn ang="0">
                <a:pos x="546" y="178"/>
              </a:cxn>
              <a:cxn ang="0">
                <a:pos x="892" y="420"/>
              </a:cxn>
              <a:cxn ang="0">
                <a:pos x="920" y="433"/>
              </a:cxn>
              <a:cxn ang="0">
                <a:pos x="933" y="405"/>
              </a:cxn>
              <a:cxn ang="0">
                <a:pos x="746" y="743"/>
              </a:cxn>
              <a:cxn ang="0">
                <a:pos x="725" y="727"/>
              </a:cxn>
              <a:cxn ang="0">
                <a:pos x="567" y="727"/>
              </a:cxn>
              <a:cxn ang="0">
                <a:pos x="567" y="598"/>
              </a:cxn>
              <a:cxn ang="0">
                <a:pos x="602" y="546"/>
              </a:cxn>
              <a:cxn ang="0">
                <a:pos x="546" y="490"/>
              </a:cxn>
              <a:cxn ang="0">
                <a:pos x="489" y="546"/>
              </a:cxn>
              <a:cxn ang="0">
                <a:pos x="524" y="598"/>
              </a:cxn>
              <a:cxn ang="0">
                <a:pos x="524" y="727"/>
              </a:cxn>
              <a:cxn ang="0">
                <a:pos x="366" y="727"/>
              </a:cxn>
              <a:cxn ang="0">
                <a:pos x="346" y="743"/>
              </a:cxn>
              <a:cxn ang="0">
                <a:pos x="315" y="847"/>
              </a:cxn>
              <a:cxn ang="0">
                <a:pos x="319" y="866"/>
              </a:cxn>
              <a:cxn ang="0">
                <a:pos x="336" y="875"/>
              </a:cxn>
              <a:cxn ang="0">
                <a:pos x="755" y="875"/>
              </a:cxn>
              <a:cxn ang="0">
                <a:pos x="773" y="866"/>
              </a:cxn>
              <a:cxn ang="0">
                <a:pos x="776" y="847"/>
              </a:cxn>
              <a:cxn ang="0">
                <a:pos x="746" y="743"/>
              </a:cxn>
            </a:cxnLst>
            <a:rect l="0" t="0" r="r" b="b"/>
            <a:pathLst>
              <a:path w="1092" h="1092">
                <a:moveTo>
                  <a:pt x="546" y="44"/>
                </a:moveTo>
                <a:cubicBezTo>
                  <a:pt x="823" y="44"/>
                  <a:pt x="1048" y="269"/>
                  <a:pt x="1048" y="546"/>
                </a:cubicBezTo>
                <a:cubicBezTo>
                  <a:pt x="1048" y="824"/>
                  <a:pt x="823" y="1049"/>
                  <a:pt x="546" y="1049"/>
                </a:cubicBezTo>
                <a:cubicBezTo>
                  <a:pt x="269" y="1049"/>
                  <a:pt x="43" y="824"/>
                  <a:pt x="43" y="546"/>
                </a:cubicBezTo>
                <a:cubicBezTo>
                  <a:pt x="43" y="269"/>
                  <a:pt x="269" y="44"/>
                  <a:pt x="546" y="44"/>
                </a:cubicBezTo>
                <a:moveTo>
                  <a:pt x="546" y="0"/>
                </a:moveTo>
                <a:cubicBezTo>
                  <a:pt x="244" y="0"/>
                  <a:pt x="0" y="245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7" y="1092"/>
                  <a:pt x="1092" y="848"/>
                  <a:pt x="1092" y="546"/>
                </a:cubicBezTo>
                <a:cubicBezTo>
                  <a:pt x="1092" y="245"/>
                  <a:pt x="847" y="0"/>
                  <a:pt x="546" y="0"/>
                </a:cubicBezTo>
                <a:close/>
                <a:moveTo>
                  <a:pt x="832" y="442"/>
                </a:moveTo>
                <a:cubicBezTo>
                  <a:pt x="836" y="453"/>
                  <a:pt x="830" y="465"/>
                  <a:pt x="819" y="470"/>
                </a:cubicBezTo>
                <a:cubicBezTo>
                  <a:pt x="808" y="474"/>
                  <a:pt x="795" y="468"/>
                  <a:pt x="791" y="457"/>
                </a:cubicBezTo>
                <a:cubicBezTo>
                  <a:pt x="754" y="354"/>
                  <a:pt x="655" y="285"/>
                  <a:pt x="546" y="285"/>
                </a:cubicBezTo>
                <a:cubicBezTo>
                  <a:pt x="436" y="285"/>
                  <a:pt x="337" y="354"/>
                  <a:pt x="300" y="457"/>
                </a:cubicBezTo>
                <a:cubicBezTo>
                  <a:pt x="297" y="465"/>
                  <a:pt x="289" y="471"/>
                  <a:pt x="280" y="471"/>
                </a:cubicBezTo>
                <a:cubicBezTo>
                  <a:pt x="277" y="471"/>
                  <a:pt x="275" y="471"/>
                  <a:pt x="272" y="470"/>
                </a:cubicBezTo>
                <a:cubicBezTo>
                  <a:pt x="261" y="466"/>
                  <a:pt x="255" y="453"/>
                  <a:pt x="259" y="442"/>
                </a:cubicBezTo>
                <a:cubicBezTo>
                  <a:pt x="303" y="322"/>
                  <a:pt x="418" y="241"/>
                  <a:pt x="546" y="241"/>
                </a:cubicBezTo>
                <a:cubicBezTo>
                  <a:pt x="673" y="241"/>
                  <a:pt x="788" y="322"/>
                  <a:pt x="832" y="442"/>
                </a:cubicBezTo>
                <a:close/>
                <a:moveTo>
                  <a:pt x="375" y="507"/>
                </a:moveTo>
                <a:cubicBezTo>
                  <a:pt x="377" y="508"/>
                  <a:pt x="380" y="508"/>
                  <a:pt x="382" y="508"/>
                </a:cubicBezTo>
                <a:cubicBezTo>
                  <a:pt x="391" y="508"/>
                  <a:pt x="399" y="503"/>
                  <a:pt x="402" y="494"/>
                </a:cubicBezTo>
                <a:cubicBezTo>
                  <a:pt x="424" y="434"/>
                  <a:pt x="482" y="394"/>
                  <a:pt x="546" y="394"/>
                </a:cubicBezTo>
                <a:cubicBezTo>
                  <a:pt x="610" y="394"/>
                  <a:pt x="667" y="434"/>
                  <a:pt x="689" y="494"/>
                </a:cubicBezTo>
                <a:cubicBezTo>
                  <a:pt x="693" y="505"/>
                  <a:pt x="706" y="511"/>
                  <a:pt x="717" y="507"/>
                </a:cubicBezTo>
                <a:cubicBezTo>
                  <a:pt x="728" y="503"/>
                  <a:pt x="734" y="490"/>
                  <a:pt x="730" y="479"/>
                </a:cubicBezTo>
                <a:cubicBezTo>
                  <a:pt x="702" y="402"/>
                  <a:pt x="628" y="350"/>
                  <a:pt x="546" y="350"/>
                </a:cubicBezTo>
                <a:cubicBezTo>
                  <a:pt x="464" y="350"/>
                  <a:pt x="390" y="402"/>
                  <a:pt x="362" y="479"/>
                </a:cubicBezTo>
                <a:cubicBezTo>
                  <a:pt x="358" y="490"/>
                  <a:pt x="363" y="503"/>
                  <a:pt x="375" y="507"/>
                </a:cubicBezTo>
                <a:close/>
                <a:moveTo>
                  <a:pt x="933" y="405"/>
                </a:moveTo>
                <a:cubicBezTo>
                  <a:pt x="874" y="243"/>
                  <a:pt x="718" y="134"/>
                  <a:pt x="546" y="134"/>
                </a:cubicBezTo>
                <a:cubicBezTo>
                  <a:pt x="373" y="134"/>
                  <a:pt x="218" y="243"/>
                  <a:pt x="159" y="405"/>
                </a:cubicBezTo>
                <a:cubicBezTo>
                  <a:pt x="155" y="416"/>
                  <a:pt x="160" y="429"/>
                  <a:pt x="172" y="433"/>
                </a:cubicBezTo>
                <a:cubicBezTo>
                  <a:pt x="174" y="434"/>
                  <a:pt x="177" y="434"/>
                  <a:pt x="179" y="434"/>
                </a:cubicBezTo>
                <a:cubicBezTo>
                  <a:pt x="188" y="434"/>
                  <a:pt x="196" y="429"/>
                  <a:pt x="199" y="420"/>
                </a:cubicBezTo>
                <a:cubicBezTo>
                  <a:pt x="252" y="275"/>
                  <a:pt x="391" y="178"/>
                  <a:pt x="546" y="178"/>
                </a:cubicBezTo>
                <a:cubicBezTo>
                  <a:pt x="700" y="178"/>
                  <a:pt x="839" y="275"/>
                  <a:pt x="892" y="420"/>
                </a:cubicBezTo>
                <a:cubicBezTo>
                  <a:pt x="896" y="431"/>
                  <a:pt x="908" y="437"/>
                  <a:pt x="920" y="433"/>
                </a:cubicBezTo>
                <a:cubicBezTo>
                  <a:pt x="931" y="429"/>
                  <a:pt x="937" y="416"/>
                  <a:pt x="933" y="405"/>
                </a:cubicBezTo>
                <a:close/>
                <a:moveTo>
                  <a:pt x="746" y="743"/>
                </a:moveTo>
                <a:cubicBezTo>
                  <a:pt x="743" y="733"/>
                  <a:pt x="735" y="727"/>
                  <a:pt x="725" y="727"/>
                </a:cubicBezTo>
                <a:cubicBezTo>
                  <a:pt x="567" y="727"/>
                  <a:pt x="567" y="727"/>
                  <a:pt x="567" y="727"/>
                </a:cubicBezTo>
                <a:cubicBezTo>
                  <a:pt x="567" y="598"/>
                  <a:pt x="567" y="598"/>
                  <a:pt x="567" y="598"/>
                </a:cubicBezTo>
                <a:cubicBezTo>
                  <a:pt x="588" y="590"/>
                  <a:pt x="602" y="570"/>
                  <a:pt x="602" y="546"/>
                </a:cubicBezTo>
                <a:cubicBezTo>
                  <a:pt x="602" y="515"/>
                  <a:pt x="577" y="490"/>
                  <a:pt x="546" y="490"/>
                </a:cubicBezTo>
                <a:cubicBezTo>
                  <a:pt x="514" y="490"/>
                  <a:pt x="489" y="515"/>
                  <a:pt x="489" y="546"/>
                </a:cubicBezTo>
                <a:cubicBezTo>
                  <a:pt x="489" y="570"/>
                  <a:pt x="504" y="590"/>
                  <a:pt x="524" y="598"/>
                </a:cubicBezTo>
                <a:cubicBezTo>
                  <a:pt x="524" y="727"/>
                  <a:pt x="524" y="727"/>
                  <a:pt x="524" y="727"/>
                </a:cubicBezTo>
                <a:cubicBezTo>
                  <a:pt x="366" y="727"/>
                  <a:pt x="366" y="727"/>
                  <a:pt x="366" y="727"/>
                </a:cubicBezTo>
                <a:cubicBezTo>
                  <a:pt x="357" y="727"/>
                  <a:pt x="348" y="733"/>
                  <a:pt x="346" y="743"/>
                </a:cubicBezTo>
                <a:cubicBezTo>
                  <a:pt x="315" y="847"/>
                  <a:pt x="315" y="847"/>
                  <a:pt x="315" y="847"/>
                </a:cubicBezTo>
                <a:cubicBezTo>
                  <a:pt x="313" y="854"/>
                  <a:pt x="315" y="861"/>
                  <a:pt x="319" y="866"/>
                </a:cubicBezTo>
                <a:cubicBezTo>
                  <a:pt x="323" y="872"/>
                  <a:pt x="329" y="875"/>
                  <a:pt x="336" y="875"/>
                </a:cubicBezTo>
                <a:cubicBezTo>
                  <a:pt x="755" y="875"/>
                  <a:pt x="755" y="875"/>
                  <a:pt x="755" y="875"/>
                </a:cubicBezTo>
                <a:cubicBezTo>
                  <a:pt x="762" y="875"/>
                  <a:pt x="769" y="872"/>
                  <a:pt x="773" y="866"/>
                </a:cubicBezTo>
                <a:cubicBezTo>
                  <a:pt x="777" y="861"/>
                  <a:pt x="778" y="854"/>
                  <a:pt x="776" y="847"/>
                </a:cubicBezTo>
                <a:lnTo>
                  <a:pt x="746" y="74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299"/>
          <p:cNvSpPr>
            <a:spLocks noEditPoints="1"/>
          </p:cNvSpPr>
          <p:nvPr/>
        </p:nvSpPr>
        <p:spPr bwMode="auto">
          <a:xfrm>
            <a:off x="3286406" y="3577944"/>
            <a:ext cx="615950" cy="615950"/>
          </a:xfrm>
          <a:custGeom>
            <a:avLst/>
            <a:gdLst/>
            <a:ahLst/>
            <a:cxnLst>
              <a:cxn ang="0">
                <a:pos x="1049" y="546"/>
              </a:cxn>
              <a:cxn ang="0">
                <a:pos x="43" y="546"/>
              </a:cxn>
              <a:cxn ang="0">
                <a:pos x="546" y="0"/>
              </a:cxn>
              <a:cxn ang="0">
                <a:pos x="546" y="1092"/>
              </a:cxn>
              <a:cxn ang="0">
                <a:pos x="546" y="0"/>
              </a:cxn>
              <a:cxn ang="0">
                <a:pos x="673" y="434"/>
              </a:cxn>
              <a:cxn ang="0">
                <a:pos x="583" y="349"/>
              </a:cxn>
              <a:cxn ang="0">
                <a:pos x="561" y="249"/>
              </a:cxn>
              <a:cxn ang="0">
                <a:pos x="437" y="253"/>
              </a:cxn>
              <a:cxn ang="0">
                <a:pos x="351" y="198"/>
              </a:cxn>
              <a:cxn ang="0">
                <a:pos x="266" y="288"/>
              </a:cxn>
              <a:cxn ang="0">
                <a:pos x="166" y="310"/>
              </a:cxn>
              <a:cxn ang="0">
                <a:pos x="170" y="434"/>
              </a:cxn>
              <a:cxn ang="0">
                <a:pos x="114" y="520"/>
              </a:cxn>
              <a:cxn ang="0">
                <a:pos x="205" y="605"/>
              </a:cxn>
              <a:cxn ang="0">
                <a:pos x="227" y="705"/>
              </a:cxn>
              <a:cxn ang="0">
                <a:pos x="351" y="701"/>
              </a:cxn>
              <a:cxn ang="0">
                <a:pos x="437" y="757"/>
              </a:cxn>
              <a:cxn ang="0">
                <a:pos x="522" y="666"/>
              </a:cxn>
              <a:cxn ang="0">
                <a:pos x="622" y="644"/>
              </a:cxn>
              <a:cxn ang="0">
                <a:pos x="618" y="520"/>
              </a:cxn>
              <a:cxn ang="0">
                <a:pos x="394" y="655"/>
              </a:cxn>
              <a:cxn ang="0">
                <a:pos x="394" y="299"/>
              </a:cxn>
              <a:cxn ang="0">
                <a:pos x="394" y="655"/>
              </a:cxn>
              <a:cxn ang="0">
                <a:pos x="259" y="477"/>
              </a:cxn>
              <a:cxn ang="0">
                <a:pos x="529" y="477"/>
              </a:cxn>
              <a:cxn ang="0">
                <a:pos x="394" y="535"/>
              </a:cxn>
              <a:cxn ang="0">
                <a:pos x="394" y="419"/>
              </a:cxn>
              <a:cxn ang="0">
                <a:pos x="394" y="535"/>
              </a:cxn>
              <a:cxn ang="0">
                <a:pos x="955" y="730"/>
              </a:cxn>
              <a:cxn ang="0">
                <a:pos x="901" y="664"/>
              </a:cxn>
              <a:cxn ang="0">
                <a:pos x="875" y="578"/>
              </a:cxn>
              <a:cxn ang="0">
                <a:pos x="792" y="591"/>
              </a:cxn>
              <a:cxn ang="0">
                <a:pos x="704" y="570"/>
              </a:cxn>
              <a:cxn ang="0">
                <a:pos x="674" y="650"/>
              </a:cxn>
              <a:cxn ang="0">
                <a:pos x="612" y="715"/>
              </a:cxn>
              <a:cxn ang="0">
                <a:pos x="666" y="781"/>
              </a:cxn>
              <a:cxn ang="0">
                <a:pos x="691" y="867"/>
              </a:cxn>
              <a:cxn ang="0">
                <a:pos x="775" y="854"/>
              </a:cxn>
              <a:cxn ang="0">
                <a:pos x="863" y="875"/>
              </a:cxn>
              <a:cxn ang="0">
                <a:pos x="893" y="795"/>
              </a:cxn>
              <a:cxn ang="0">
                <a:pos x="805" y="769"/>
              </a:cxn>
              <a:cxn ang="0">
                <a:pos x="762" y="676"/>
              </a:cxn>
              <a:cxn ang="0">
                <a:pos x="805" y="769"/>
              </a:cxn>
            </a:cxnLst>
            <a:rect l="0" t="0" r="r" b="b"/>
            <a:pathLst>
              <a:path w="1092" h="1092">
                <a:moveTo>
                  <a:pt x="546" y="43"/>
                </a:moveTo>
                <a:cubicBezTo>
                  <a:pt x="823" y="43"/>
                  <a:pt x="1049" y="269"/>
                  <a:pt x="1049" y="546"/>
                </a:cubicBezTo>
                <a:cubicBezTo>
                  <a:pt x="1049" y="823"/>
                  <a:pt x="823" y="1049"/>
                  <a:pt x="546" y="1049"/>
                </a:cubicBezTo>
                <a:cubicBezTo>
                  <a:pt x="269" y="1049"/>
                  <a:pt x="43" y="823"/>
                  <a:pt x="43" y="546"/>
                </a:cubicBezTo>
                <a:cubicBezTo>
                  <a:pt x="43" y="269"/>
                  <a:pt x="269" y="43"/>
                  <a:pt x="546" y="43"/>
                </a:cubicBezTo>
                <a:moveTo>
                  <a:pt x="546" y="0"/>
                </a:moveTo>
                <a:cubicBezTo>
                  <a:pt x="244" y="0"/>
                  <a:pt x="0" y="244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4"/>
                  <a:pt x="848" y="0"/>
                  <a:pt x="546" y="0"/>
                </a:cubicBezTo>
                <a:close/>
                <a:moveTo>
                  <a:pt x="673" y="520"/>
                </a:moveTo>
                <a:cubicBezTo>
                  <a:pt x="673" y="434"/>
                  <a:pt x="673" y="434"/>
                  <a:pt x="673" y="434"/>
                </a:cubicBezTo>
                <a:cubicBezTo>
                  <a:pt x="618" y="434"/>
                  <a:pt x="618" y="434"/>
                  <a:pt x="618" y="434"/>
                </a:cubicBezTo>
                <a:cubicBezTo>
                  <a:pt x="612" y="403"/>
                  <a:pt x="600" y="374"/>
                  <a:pt x="583" y="349"/>
                </a:cubicBezTo>
                <a:cubicBezTo>
                  <a:pt x="622" y="310"/>
                  <a:pt x="622" y="310"/>
                  <a:pt x="622" y="310"/>
                </a:cubicBezTo>
                <a:cubicBezTo>
                  <a:pt x="561" y="249"/>
                  <a:pt x="561" y="249"/>
                  <a:pt x="561" y="249"/>
                </a:cubicBezTo>
                <a:cubicBezTo>
                  <a:pt x="522" y="288"/>
                  <a:pt x="522" y="288"/>
                  <a:pt x="522" y="288"/>
                </a:cubicBezTo>
                <a:cubicBezTo>
                  <a:pt x="497" y="271"/>
                  <a:pt x="468" y="259"/>
                  <a:pt x="437" y="253"/>
                </a:cubicBezTo>
                <a:cubicBezTo>
                  <a:pt x="437" y="198"/>
                  <a:pt x="437" y="198"/>
                  <a:pt x="437" y="198"/>
                </a:cubicBezTo>
                <a:cubicBezTo>
                  <a:pt x="351" y="198"/>
                  <a:pt x="351" y="198"/>
                  <a:pt x="351" y="198"/>
                </a:cubicBezTo>
                <a:cubicBezTo>
                  <a:pt x="351" y="253"/>
                  <a:pt x="351" y="253"/>
                  <a:pt x="351" y="253"/>
                </a:cubicBezTo>
                <a:cubicBezTo>
                  <a:pt x="320" y="259"/>
                  <a:pt x="291" y="271"/>
                  <a:pt x="266" y="288"/>
                </a:cubicBezTo>
                <a:cubicBezTo>
                  <a:pt x="227" y="249"/>
                  <a:pt x="227" y="249"/>
                  <a:pt x="227" y="249"/>
                </a:cubicBezTo>
                <a:cubicBezTo>
                  <a:pt x="166" y="310"/>
                  <a:pt x="166" y="310"/>
                  <a:pt x="166" y="310"/>
                </a:cubicBezTo>
                <a:cubicBezTo>
                  <a:pt x="205" y="349"/>
                  <a:pt x="205" y="349"/>
                  <a:pt x="205" y="349"/>
                </a:cubicBezTo>
                <a:cubicBezTo>
                  <a:pt x="188" y="374"/>
                  <a:pt x="176" y="403"/>
                  <a:pt x="170" y="434"/>
                </a:cubicBezTo>
                <a:cubicBezTo>
                  <a:pt x="114" y="434"/>
                  <a:pt x="114" y="434"/>
                  <a:pt x="114" y="434"/>
                </a:cubicBezTo>
                <a:cubicBezTo>
                  <a:pt x="114" y="520"/>
                  <a:pt x="114" y="520"/>
                  <a:pt x="114" y="520"/>
                </a:cubicBezTo>
                <a:cubicBezTo>
                  <a:pt x="170" y="520"/>
                  <a:pt x="170" y="520"/>
                  <a:pt x="170" y="520"/>
                </a:cubicBezTo>
                <a:cubicBezTo>
                  <a:pt x="176" y="551"/>
                  <a:pt x="188" y="580"/>
                  <a:pt x="205" y="605"/>
                </a:cubicBezTo>
                <a:cubicBezTo>
                  <a:pt x="166" y="644"/>
                  <a:pt x="166" y="644"/>
                  <a:pt x="166" y="644"/>
                </a:cubicBezTo>
                <a:cubicBezTo>
                  <a:pt x="227" y="705"/>
                  <a:pt x="227" y="705"/>
                  <a:pt x="227" y="705"/>
                </a:cubicBezTo>
                <a:cubicBezTo>
                  <a:pt x="266" y="666"/>
                  <a:pt x="266" y="666"/>
                  <a:pt x="266" y="666"/>
                </a:cubicBezTo>
                <a:cubicBezTo>
                  <a:pt x="291" y="683"/>
                  <a:pt x="320" y="695"/>
                  <a:pt x="351" y="701"/>
                </a:cubicBezTo>
                <a:cubicBezTo>
                  <a:pt x="351" y="757"/>
                  <a:pt x="351" y="757"/>
                  <a:pt x="351" y="757"/>
                </a:cubicBezTo>
                <a:cubicBezTo>
                  <a:pt x="437" y="757"/>
                  <a:pt x="437" y="757"/>
                  <a:pt x="437" y="757"/>
                </a:cubicBezTo>
                <a:cubicBezTo>
                  <a:pt x="437" y="701"/>
                  <a:pt x="437" y="701"/>
                  <a:pt x="437" y="701"/>
                </a:cubicBezTo>
                <a:cubicBezTo>
                  <a:pt x="468" y="695"/>
                  <a:pt x="497" y="683"/>
                  <a:pt x="522" y="666"/>
                </a:cubicBezTo>
                <a:cubicBezTo>
                  <a:pt x="561" y="705"/>
                  <a:pt x="561" y="705"/>
                  <a:pt x="561" y="705"/>
                </a:cubicBezTo>
                <a:cubicBezTo>
                  <a:pt x="622" y="644"/>
                  <a:pt x="622" y="644"/>
                  <a:pt x="622" y="644"/>
                </a:cubicBezTo>
                <a:cubicBezTo>
                  <a:pt x="583" y="605"/>
                  <a:pt x="583" y="605"/>
                  <a:pt x="583" y="605"/>
                </a:cubicBezTo>
                <a:cubicBezTo>
                  <a:pt x="600" y="580"/>
                  <a:pt x="612" y="551"/>
                  <a:pt x="618" y="520"/>
                </a:cubicBezTo>
                <a:lnTo>
                  <a:pt x="673" y="520"/>
                </a:lnTo>
                <a:close/>
                <a:moveTo>
                  <a:pt x="394" y="655"/>
                </a:moveTo>
                <a:cubicBezTo>
                  <a:pt x="295" y="655"/>
                  <a:pt x="215" y="575"/>
                  <a:pt x="215" y="477"/>
                </a:cubicBezTo>
                <a:cubicBezTo>
                  <a:pt x="215" y="379"/>
                  <a:pt x="295" y="299"/>
                  <a:pt x="394" y="299"/>
                </a:cubicBezTo>
                <a:cubicBezTo>
                  <a:pt x="492" y="299"/>
                  <a:pt x="572" y="379"/>
                  <a:pt x="572" y="477"/>
                </a:cubicBezTo>
                <a:cubicBezTo>
                  <a:pt x="572" y="575"/>
                  <a:pt x="492" y="655"/>
                  <a:pt x="394" y="655"/>
                </a:cubicBezTo>
                <a:close/>
                <a:moveTo>
                  <a:pt x="394" y="342"/>
                </a:moveTo>
                <a:cubicBezTo>
                  <a:pt x="319" y="342"/>
                  <a:pt x="259" y="403"/>
                  <a:pt x="259" y="477"/>
                </a:cubicBezTo>
                <a:cubicBezTo>
                  <a:pt x="259" y="551"/>
                  <a:pt x="319" y="612"/>
                  <a:pt x="394" y="612"/>
                </a:cubicBezTo>
                <a:cubicBezTo>
                  <a:pt x="468" y="612"/>
                  <a:pt x="529" y="551"/>
                  <a:pt x="529" y="477"/>
                </a:cubicBezTo>
                <a:cubicBezTo>
                  <a:pt x="529" y="403"/>
                  <a:pt x="468" y="342"/>
                  <a:pt x="394" y="342"/>
                </a:cubicBezTo>
                <a:close/>
                <a:moveTo>
                  <a:pt x="394" y="535"/>
                </a:moveTo>
                <a:cubicBezTo>
                  <a:pt x="361" y="535"/>
                  <a:pt x="335" y="509"/>
                  <a:pt x="335" y="477"/>
                </a:cubicBezTo>
                <a:cubicBezTo>
                  <a:pt x="335" y="445"/>
                  <a:pt x="361" y="419"/>
                  <a:pt x="394" y="419"/>
                </a:cubicBezTo>
                <a:cubicBezTo>
                  <a:pt x="426" y="419"/>
                  <a:pt x="452" y="445"/>
                  <a:pt x="452" y="477"/>
                </a:cubicBezTo>
                <a:cubicBezTo>
                  <a:pt x="452" y="509"/>
                  <a:pt x="426" y="535"/>
                  <a:pt x="394" y="535"/>
                </a:cubicBezTo>
                <a:close/>
                <a:moveTo>
                  <a:pt x="914" y="737"/>
                </a:moveTo>
                <a:cubicBezTo>
                  <a:pt x="955" y="730"/>
                  <a:pt x="955" y="730"/>
                  <a:pt x="955" y="730"/>
                </a:cubicBezTo>
                <a:cubicBezTo>
                  <a:pt x="942" y="657"/>
                  <a:pt x="942" y="657"/>
                  <a:pt x="942" y="657"/>
                </a:cubicBezTo>
                <a:cubicBezTo>
                  <a:pt x="901" y="664"/>
                  <a:pt x="901" y="664"/>
                  <a:pt x="901" y="664"/>
                </a:cubicBezTo>
                <a:cubicBezTo>
                  <a:pt x="892" y="645"/>
                  <a:pt x="878" y="629"/>
                  <a:pt x="861" y="616"/>
                </a:cubicBezTo>
                <a:cubicBezTo>
                  <a:pt x="875" y="578"/>
                  <a:pt x="875" y="578"/>
                  <a:pt x="875" y="578"/>
                </a:cubicBezTo>
                <a:cubicBezTo>
                  <a:pt x="806" y="552"/>
                  <a:pt x="806" y="552"/>
                  <a:pt x="806" y="552"/>
                </a:cubicBezTo>
                <a:cubicBezTo>
                  <a:pt x="792" y="591"/>
                  <a:pt x="792" y="591"/>
                  <a:pt x="792" y="591"/>
                </a:cubicBezTo>
                <a:cubicBezTo>
                  <a:pt x="772" y="590"/>
                  <a:pt x="751" y="593"/>
                  <a:pt x="731" y="602"/>
                </a:cubicBezTo>
                <a:cubicBezTo>
                  <a:pt x="704" y="570"/>
                  <a:pt x="704" y="570"/>
                  <a:pt x="704" y="570"/>
                </a:cubicBezTo>
                <a:cubicBezTo>
                  <a:pt x="647" y="618"/>
                  <a:pt x="647" y="618"/>
                  <a:pt x="647" y="618"/>
                </a:cubicBezTo>
                <a:cubicBezTo>
                  <a:pt x="674" y="650"/>
                  <a:pt x="674" y="650"/>
                  <a:pt x="674" y="650"/>
                </a:cubicBezTo>
                <a:cubicBezTo>
                  <a:pt x="662" y="667"/>
                  <a:pt x="655" y="687"/>
                  <a:pt x="653" y="708"/>
                </a:cubicBezTo>
                <a:cubicBezTo>
                  <a:pt x="612" y="715"/>
                  <a:pt x="612" y="715"/>
                  <a:pt x="612" y="715"/>
                </a:cubicBezTo>
                <a:cubicBezTo>
                  <a:pt x="625" y="788"/>
                  <a:pt x="625" y="788"/>
                  <a:pt x="625" y="788"/>
                </a:cubicBezTo>
                <a:cubicBezTo>
                  <a:pt x="666" y="781"/>
                  <a:pt x="666" y="781"/>
                  <a:pt x="666" y="781"/>
                </a:cubicBezTo>
                <a:cubicBezTo>
                  <a:pt x="675" y="800"/>
                  <a:pt x="689" y="816"/>
                  <a:pt x="706" y="829"/>
                </a:cubicBezTo>
                <a:cubicBezTo>
                  <a:pt x="691" y="867"/>
                  <a:pt x="691" y="867"/>
                  <a:pt x="691" y="867"/>
                </a:cubicBezTo>
                <a:cubicBezTo>
                  <a:pt x="761" y="893"/>
                  <a:pt x="761" y="893"/>
                  <a:pt x="761" y="893"/>
                </a:cubicBezTo>
                <a:cubicBezTo>
                  <a:pt x="775" y="854"/>
                  <a:pt x="775" y="854"/>
                  <a:pt x="775" y="854"/>
                </a:cubicBezTo>
                <a:cubicBezTo>
                  <a:pt x="795" y="855"/>
                  <a:pt x="816" y="852"/>
                  <a:pt x="836" y="843"/>
                </a:cubicBezTo>
                <a:cubicBezTo>
                  <a:pt x="863" y="875"/>
                  <a:pt x="863" y="875"/>
                  <a:pt x="863" y="875"/>
                </a:cubicBezTo>
                <a:cubicBezTo>
                  <a:pt x="920" y="827"/>
                  <a:pt x="920" y="827"/>
                  <a:pt x="920" y="827"/>
                </a:cubicBezTo>
                <a:cubicBezTo>
                  <a:pt x="893" y="795"/>
                  <a:pt x="893" y="795"/>
                  <a:pt x="893" y="795"/>
                </a:cubicBezTo>
                <a:cubicBezTo>
                  <a:pt x="905" y="778"/>
                  <a:pt x="912" y="758"/>
                  <a:pt x="914" y="737"/>
                </a:cubicBezTo>
                <a:close/>
                <a:moveTo>
                  <a:pt x="805" y="769"/>
                </a:moveTo>
                <a:cubicBezTo>
                  <a:pt x="779" y="781"/>
                  <a:pt x="749" y="770"/>
                  <a:pt x="737" y="744"/>
                </a:cubicBezTo>
                <a:cubicBezTo>
                  <a:pt x="725" y="718"/>
                  <a:pt x="736" y="688"/>
                  <a:pt x="762" y="676"/>
                </a:cubicBezTo>
                <a:cubicBezTo>
                  <a:pt x="788" y="664"/>
                  <a:pt x="818" y="675"/>
                  <a:pt x="830" y="701"/>
                </a:cubicBezTo>
                <a:cubicBezTo>
                  <a:pt x="842" y="726"/>
                  <a:pt x="831" y="757"/>
                  <a:pt x="805" y="76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302"/>
          <p:cNvSpPr>
            <a:spLocks noEditPoints="1"/>
          </p:cNvSpPr>
          <p:nvPr/>
        </p:nvSpPr>
        <p:spPr bwMode="auto">
          <a:xfrm>
            <a:off x="3286406" y="4264258"/>
            <a:ext cx="615950" cy="617538"/>
          </a:xfrm>
          <a:custGeom>
            <a:avLst/>
            <a:gdLst/>
            <a:ahLst/>
            <a:cxnLst>
              <a:cxn ang="0">
                <a:pos x="546" y="43"/>
              </a:cxn>
              <a:cxn ang="0">
                <a:pos x="1049" y="546"/>
              </a:cxn>
              <a:cxn ang="0">
                <a:pos x="546" y="1049"/>
              </a:cxn>
              <a:cxn ang="0">
                <a:pos x="43" y="546"/>
              </a:cxn>
              <a:cxn ang="0">
                <a:pos x="546" y="43"/>
              </a:cxn>
              <a:cxn ang="0">
                <a:pos x="546" y="0"/>
              </a:cxn>
              <a:cxn ang="0">
                <a:pos x="0" y="546"/>
              </a:cxn>
              <a:cxn ang="0">
                <a:pos x="546" y="1092"/>
              </a:cxn>
              <a:cxn ang="0">
                <a:pos x="1092" y="546"/>
              </a:cxn>
              <a:cxn ang="0">
                <a:pos x="546" y="0"/>
              </a:cxn>
              <a:cxn ang="0">
                <a:pos x="217" y="753"/>
              </a:cxn>
              <a:cxn ang="0">
                <a:pos x="295" y="753"/>
              </a:cxn>
              <a:cxn ang="0">
                <a:pos x="316" y="732"/>
              </a:cxn>
              <a:cxn ang="0">
                <a:pos x="316" y="568"/>
              </a:cxn>
              <a:cxn ang="0">
                <a:pos x="295" y="546"/>
              </a:cxn>
              <a:cxn ang="0">
                <a:pos x="217" y="546"/>
              </a:cxn>
              <a:cxn ang="0">
                <a:pos x="195" y="568"/>
              </a:cxn>
              <a:cxn ang="0">
                <a:pos x="195" y="732"/>
              </a:cxn>
              <a:cxn ang="0">
                <a:pos x="217" y="753"/>
              </a:cxn>
              <a:cxn ang="0">
                <a:pos x="410" y="753"/>
              </a:cxn>
              <a:cxn ang="0">
                <a:pos x="488" y="753"/>
              </a:cxn>
              <a:cxn ang="0">
                <a:pos x="510" y="732"/>
              </a:cxn>
              <a:cxn ang="0">
                <a:pos x="510" y="400"/>
              </a:cxn>
              <a:cxn ang="0">
                <a:pos x="488" y="378"/>
              </a:cxn>
              <a:cxn ang="0">
                <a:pos x="410" y="378"/>
              </a:cxn>
              <a:cxn ang="0">
                <a:pos x="389" y="400"/>
              </a:cxn>
              <a:cxn ang="0">
                <a:pos x="389" y="732"/>
              </a:cxn>
              <a:cxn ang="0">
                <a:pos x="410" y="753"/>
              </a:cxn>
              <a:cxn ang="0">
                <a:pos x="604" y="753"/>
              </a:cxn>
              <a:cxn ang="0">
                <a:pos x="682" y="753"/>
              </a:cxn>
              <a:cxn ang="0">
                <a:pos x="703" y="732"/>
              </a:cxn>
              <a:cxn ang="0">
                <a:pos x="703" y="459"/>
              </a:cxn>
              <a:cxn ang="0">
                <a:pos x="682" y="437"/>
              </a:cxn>
              <a:cxn ang="0">
                <a:pos x="604" y="437"/>
              </a:cxn>
              <a:cxn ang="0">
                <a:pos x="582" y="459"/>
              </a:cxn>
              <a:cxn ang="0">
                <a:pos x="582" y="732"/>
              </a:cxn>
              <a:cxn ang="0">
                <a:pos x="604" y="753"/>
              </a:cxn>
              <a:cxn ang="0">
                <a:pos x="875" y="271"/>
              </a:cxn>
              <a:cxn ang="0">
                <a:pos x="797" y="271"/>
              </a:cxn>
              <a:cxn ang="0">
                <a:pos x="776" y="293"/>
              </a:cxn>
              <a:cxn ang="0">
                <a:pos x="776" y="732"/>
              </a:cxn>
              <a:cxn ang="0">
                <a:pos x="797" y="753"/>
              </a:cxn>
              <a:cxn ang="0">
                <a:pos x="875" y="753"/>
              </a:cxn>
              <a:cxn ang="0">
                <a:pos x="897" y="732"/>
              </a:cxn>
              <a:cxn ang="0">
                <a:pos x="897" y="293"/>
              </a:cxn>
              <a:cxn ang="0">
                <a:pos x="875" y="271"/>
              </a:cxn>
              <a:cxn ang="0">
                <a:pos x="897" y="799"/>
              </a:cxn>
              <a:cxn ang="0">
                <a:pos x="195" y="799"/>
              </a:cxn>
              <a:cxn ang="0">
                <a:pos x="195" y="843"/>
              </a:cxn>
              <a:cxn ang="0">
                <a:pos x="897" y="843"/>
              </a:cxn>
              <a:cxn ang="0">
                <a:pos x="897" y="799"/>
              </a:cxn>
            </a:cxnLst>
            <a:rect l="0" t="0" r="r" b="b"/>
            <a:pathLst>
              <a:path w="1092" h="1092">
                <a:moveTo>
                  <a:pt x="546" y="43"/>
                </a:moveTo>
                <a:cubicBezTo>
                  <a:pt x="823" y="43"/>
                  <a:pt x="1049" y="269"/>
                  <a:pt x="1049" y="546"/>
                </a:cubicBezTo>
                <a:cubicBezTo>
                  <a:pt x="1049" y="823"/>
                  <a:pt x="823" y="1049"/>
                  <a:pt x="546" y="1049"/>
                </a:cubicBezTo>
                <a:cubicBezTo>
                  <a:pt x="269" y="1049"/>
                  <a:pt x="43" y="823"/>
                  <a:pt x="43" y="546"/>
                </a:cubicBezTo>
                <a:cubicBezTo>
                  <a:pt x="43" y="269"/>
                  <a:pt x="269" y="43"/>
                  <a:pt x="546" y="43"/>
                </a:cubicBezTo>
                <a:moveTo>
                  <a:pt x="546" y="0"/>
                </a:moveTo>
                <a:cubicBezTo>
                  <a:pt x="244" y="0"/>
                  <a:pt x="0" y="244"/>
                  <a:pt x="0" y="546"/>
                </a:cubicBezTo>
                <a:cubicBezTo>
                  <a:pt x="0" y="848"/>
                  <a:pt x="244" y="1092"/>
                  <a:pt x="546" y="1092"/>
                </a:cubicBezTo>
                <a:cubicBezTo>
                  <a:pt x="848" y="1092"/>
                  <a:pt x="1092" y="848"/>
                  <a:pt x="1092" y="546"/>
                </a:cubicBezTo>
                <a:cubicBezTo>
                  <a:pt x="1092" y="244"/>
                  <a:pt x="848" y="0"/>
                  <a:pt x="546" y="0"/>
                </a:cubicBezTo>
                <a:close/>
                <a:moveTo>
                  <a:pt x="217" y="753"/>
                </a:moveTo>
                <a:cubicBezTo>
                  <a:pt x="295" y="753"/>
                  <a:pt x="295" y="753"/>
                  <a:pt x="295" y="753"/>
                </a:cubicBezTo>
                <a:cubicBezTo>
                  <a:pt x="307" y="753"/>
                  <a:pt x="316" y="743"/>
                  <a:pt x="316" y="732"/>
                </a:cubicBezTo>
                <a:cubicBezTo>
                  <a:pt x="316" y="568"/>
                  <a:pt x="316" y="568"/>
                  <a:pt x="316" y="568"/>
                </a:cubicBezTo>
                <a:cubicBezTo>
                  <a:pt x="316" y="556"/>
                  <a:pt x="307" y="546"/>
                  <a:pt x="295" y="546"/>
                </a:cubicBezTo>
                <a:cubicBezTo>
                  <a:pt x="217" y="546"/>
                  <a:pt x="217" y="546"/>
                  <a:pt x="217" y="546"/>
                </a:cubicBezTo>
                <a:cubicBezTo>
                  <a:pt x="205" y="546"/>
                  <a:pt x="195" y="556"/>
                  <a:pt x="195" y="568"/>
                </a:cubicBezTo>
                <a:cubicBezTo>
                  <a:pt x="195" y="732"/>
                  <a:pt x="195" y="732"/>
                  <a:pt x="195" y="732"/>
                </a:cubicBezTo>
                <a:cubicBezTo>
                  <a:pt x="195" y="743"/>
                  <a:pt x="205" y="753"/>
                  <a:pt x="217" y="753"/>
                </a:cubicBezTo>
                <a:close/>
                <a:moveTo>
                  <a:pt x="410" y="753"/>
                </a:moveTo>
                <a:cubicBezTo>
                  <a:pt x="488" y="753"/>
                  <a:pt x="488" y="753"/>
                  <a:pt x="488" y="753"/>
                </a:cubicBezTo>
                <a:cubicBezTo>
                  <a:pt x="500" y="753"/>
                  <a:pt x="510" y="743"/>
                  <a:pt x="510" y="732"/>
                </a:cubicBezTo>
                <a:cubicBezTo>
                  <a:pt x="510" y="400"/>
                  <a:pt x="510" y="400"/>
                  <a:pt x="510" y="400"/>
                </a:cubicBezTo>
                <a:cubicBezTo>
                  <a:pt x="510" y="388"/>
                  <a:pt x="500" y="378"/>
                  <a:pt x="488" y="378"/>
                </a:cubicBezTo>
                <a:cubicBezTo>
                  <a:pt x="410" y="378"/>
                  <a:pt x="410" y="378"/>
                  <a:pt x="410" y="378"/>
                </a:cubicBezTo>
                <a:cubicBezTo>
                  <a:pt x="398" y="378"/>
                  <a:pt x="389" y="388"/>
                  <a:pt x="389" y="400"/>
                </a:cubicBezTo>
                <a:cubicBezTo>
                  <a:pt x="389" y="732"/>
                  <a:pt x="389" y="732"/>
                  <a:pt x="389" y="732"/>
                </a:cubicBezTo>
                <a:cubicBezTo>
                  <a:pt x="389" y="743"/>
                  <a:pt x="398" y="753"/>
                  <a:pt x="410" y="753"/>
                </a:cubicBezTo>
                <a:close/>
                <a:moveTo>
                  <a:pt x="604" y="753"/>
                </a:moveTo>
                <a:cubicBezTo>
                  <a:pt x="682" y="753"/>
                  <a:pt x="682" y="753"/>
                  <a:pt x="682" y="753"/>
                </a:cubicBezTo>
                <a:cubicBezTo>
                  <a:pt x="694" y="753"/>
                  <a:pt x="703" y="743"/>
                  <a:pt x="703" y="732"/>
                </a:cubicBezTo>
                <a:cubicBezTo>
                  <a:pt x="703" y="459"/>
                  <a:pt x="703" y="459"/>
                  <a:pt x="703" y="459"/>
                </a:cubicBezTo>
                <a:cubicBezTo>
                  <a:pt x="703" y="447"/>
                  <a:pt x="694" y="437"/>
                  <a:pt x="682" y="437"/>
                </a:cubicBezTo>
                <a:cubicBezTo>
                  <a:pt x="604" y="437"/>
                  <a:pt x="604" y="437"/>
                  <a:pt x="604" y="437"/>
                </a:cubicBezTo>
                <a:cubicBezTo>
                  <a:pt x="592" y="437"/>
                  <a:pt x="582" y="447"/>
                  <a:pt x="582" y="459"/>
                </a:cubicBezTo>
                <a:cubicBezTo>
                  <a:pt x="582" y="732"/>
                  <a:pt x="582" y="732"/>
                  <a:pt x="582" y="732"/>
                </a:cubicBezTo>
                <a:cubicBezTo>
                  <a:pt x="582" y="743"/>
                  <a:pt x="592" y="753"/>
                  <a:pt x="604" y="753"/>
                </a:cubicBezTo>
                <a:close/>
                <a:moveTo>
                  <a:pt x="875" y="271"/>
                </a:moveTo>
                <a:cubicBezTo>
                  <a:pt x="797" y="271"/>
                  <a:pt x="797" y="271"/>
                  <a:pt x="797" y="271"/>
                </a:cubicBezTo>
                <a:cubicBezTo>
                  <a:pt x="785" y="271"/>
                  <a:pt x="776" y="281"/>
                  <a:pt x="776" y="293"/>
                </a:cubicBezTo>
                <a:cubicBezTo>
                  <a:pt x="776" y="732"/>
                  <a:pt x="776" y="732"/>
                  <a:pt x="776" y="732"/>
                </a:cubicBezTo>
                <a:cubicBezTo>
                  <a:pt x="776" y="744"/>
                  <a:pt x="785" y="753"/>
                  <a:pt x="797" y="753"/>
                </a:cubicBezTo>
                <a:cubicBezTo>
                  <a:pt x="875" y="753"/>
                  <a:pt x="875" y="753"/>
                  <a:pt x="875" y="753"/>
                </a:cubicBezTo>
                <a:cubicBezTo>
                  <a:pt x="887" y="753"/>
                  <a:pt x="897" y="744"/>
                  <a:pt x="897" y="732"/>
                </a:cubicBezTo>
                <a:cubicBezTo>
                  <a:pt x="897" y="293"/>
                  <a:pt x="897" y="293"/>
                  <a:pt x="897" y="293"/>
                </a:cubicBezTo>
                <a:cubicBezTo>
                  <a:pt x="897" y="281"/>
                  <a:pt x="887" y="271"/>
                  <a:pt x="875" y="271"/>
                </a:cubicBezTo>
                <a:close/>
                <a:moveTo>
                  <a:pt x="897" y="799"/>
                </a:moveTo>
                <a:cubicBezTo>
                  <a:pt x="195" y="799"/>
                  <a:pt x="195" y="799"/>
                  <a:pt x="195" y="799"/>
                </a:cubicBezTo>
                <a:cubicBezTo>
                  <a:pt x="195" y="843"/>
                  <a:pt x="195" y="843"/>
                  <a:pt x="195" y="843"/>
                </a:cubicBezTo>
                <a:cubicBezTo>
                  <a:pt x="897" y="843"/>
                  <a:pt x="897" y="843"/>
                  <a:pt x="897" y="843"/>
                </a:cubicBezTo>
                <a:lnTo>
                  <a:pt x="897" y="7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41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Logistyka oraz zarządzanie łańcuchem dostaw jest dyscypliną coraz szybciej rozwijającą się w zespole</a:t>
            </a:r>
            <a:endParaRPr lang="pl-PL" dirty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323529" y="1396600"/>
            <a:ext cx="8004682" cy="439602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/>
          <a:lstStyle>
            <a:defPPr>
              <a:defRPr lang="pl-PL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286000" algn="l" defTabSz="457200" rtl="0" eaLnBrk="1" latinLnBrk="0" hangingPunct="1"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743200" algn="l" defTabSz="457200" rtl="0" eaLnBrk="1" latinLnBrk="0" hangingPunct="1"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200400" algn="l" defTabSz="457200" rtl="0" eaLnBrk="1" latinLnBrk="0" hangingPunct="1"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657600" algn="l" defTabSz="457200" rtl="0" eaLnBrk="1" latinLnBrk="0" hangingPunct="1">
              <a:defRPr kumimoji="1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r>
              <a:rPr lang="pl-PL" sz="1600" dirty="0" smtClean="0">
                <a:solidFill>
                  <a:schemeClr val="bg1"/>
                </a:solidFill>
                <a:latin typeface="+mj-lt"/>
              </a:rPr>
              <a:t> Prowadząc projekty w tej branży, odpowiadamy na jedne z następujących pytań:</a:t>
            </a:r>
            <a:endParaRPr lang="pl-PL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Pentagon 13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323528" y="2013602"/>
            <a:ext cx="8004683" cy="530720"/>
          </a:xfrm>
          <a:prstGeom prst="homePlate">
            <a:avLst>
              <a:gd name="adj" fmla="val 18923"/>
            </a:avLst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>
                <a:solidFill>
                  <a:schemeClr val="bg1"/>
                </a:solidFill>
                <a:latin typeface="+mj-lt"/>
              </a:rPr>
              <a:t>Jaka architektura sieci logistycznej jest najbardziej efektywna kosztowo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69708" y="2175090"/>
            <a:ext cx="270474" cy="175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lvl="0" algn="ctr"/>
            <a:r>
              <a:rPr lang="pl-PL" sz="1400" b="1" dirty="0">
                <a:solidFill>
                  <a:srgbClr val="FFFFFF"/>
                </a:solidFill>
                <a:latin typeface="+mj-lt"/>
              </a:rPr>
              <a:t>1</a:t>
            </a:r>
          </a:p>
        </p:txBody>
      </p:sp>
      <p:sp>
        <p:nvSpPr>
          <p:cNvPr id="18" name="Pentagon 17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323529" y="3429842"/>
            <a:ext cx="8004682" cy="530720"/>
          </a:xfrm>
          <a:prstGeom prst="homePlate">
            <a:avLst>
              <a:gd name="adj" fmla="val 18923"/>
            </a:avLst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+mj-lt"/>
              </a:rPr>
              <a:t>Jakie pojemności oraz moce przerobowe wskazanych elementów sieci są niezbędne do spełnienie celów strategicznych Klienta?</a:t>
            </a:r>
            <a:endParaRPr lang="pl-PL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9709" y="3607242"/>
            <a:ext cx="270474" cy="175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lvl="0"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l-PL" dirty="0"/>
              <a:t>3</a:t>
            </a:r>
          </a:p>
        </p:txBody>
      </p:sp>
      <p:sp>
        <p:nvSpPr>
          <p:cNvPr id="22" name="Pentagon 21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323528" y="4137962"/>
            <a:ext cx="8004682" cy="530720"/>
          </a:xfrm>
          <a:prstGeom prst="homePlate">
            <a:avLst>
              <a:gd name="adj" fmla="val 18923"/>
            </a:avLst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+mj-lt"/>
              </a:rPr>
              <a:t>Jak duża flota pojazdów transportowych jest niezbędna do funkcjonowania założonej sieci logistycznej?</a:t>
            </a:r>
            <a:endParaRPr lang="pl-PL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10966" y="4315362"/>
            <a:ext cx="270474" cy="175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lvl="0"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l-PL" dirty="0"/>
              <a:t>4</a:t>
            </a:r>
          </a:p>
        </p:txBody>
      </p:sp>
      <p:sp>
        <p:nvSpPr>
          <p:cNvPr id="27" name="Pentagon 26"/>
          <p:cNvSpPr>
            <a:spLocks/>
          </p:cNvSpPr>
          <p:nvPr>
            <p:custDataLst>
              <p:tags r:id="rId4"/>
            </p:custDataLst>
          </p:nvPr>
        </p:nvSpPr>
        <p:spPr bwMode="blackWhite">
          <a:xfrm>
            <a:off x="323529" y="2721722"/>
            <a:ext cx="8004682" cy="530720"/>
          </a:xfrm>
          <a:prstGeom prst="homePlate">
            <a:avLst>
              <a:gd name="adj" fmla="val 18923"/>
            </a:avLst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>
                <a:solidFill>
                  <a:schemeClr val="bg1"/>
                </a:solidFill>
                <a:latin typeface="+mj-lt"/>
              </a:rPr>
              <a:t>Jaka jest optymalna liczba oraz lokalizacja elementów sieci logistycznej </a:t>
            </a:r>
            <a:r>
              <a:rPr lang="pl-PL" sz="1400" b="1" dirty="0" smtClean="0">
                <a:solidFill>
                  <a:schemeClr val="bg1"/>
                </a:solidFill>
                <a:latin typeface="+mj-lt"/>
              </a:rPr>
              <a:t>Klienta</a:t>
            </a:r>
            <a:r>
              <a:rPr lang="pl-PL" sz="1400" b="1" dirty="0">
                <a:solidFill>
                  <a:schemeClr val="bg1"/>
                </a:solidFill>
                <a:latin typeface="+mj-lt"/>
              </a:rPr>
              <a:t>?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69708" y="2891253"/>
            <a:ext cx="270474" cy="175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lvl="0"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l-PL" dirty="0"/>
              <a:t>2</a:t>
            </a:r>
          </a:p>
        </p:txBody>
      </p:sp>
      <p:sp>
        <p:nvSpPr>
          <p:cNvPr id="30" name="Pentagon 29"/>
          <p:cNvSpPr>
            <a:spLocks/>
          </p:cNvSpPr>
          <p:nvPr>
            <p:custDataLst>
              <p:tags r:id="rId5"/>
            </p:custDataLst>
          </p:nvPr>
        </p:nvSpPr>
        <p:spPr bwMode="blackWhite">
          <a:xfrm>
            <a:off x="323528" y="4846082"/>
            <a:ext cx="8004682" cy="530720"/>
          </a:xfrm>
          <a:prstGeom prst="homePlate">
            <a:avLst>
              <a:gd name="adj" fmla="val 18923"/>
            </a:avLst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+mj-lt"/>
              </a:rPr>
              <a:t>Jak ułożyć harmonogram pracy poszczególnych elementów sieci dostaw towarów między nimi?</a:t>
            </a:r>
            <a:endParaRPr lang="pl-PL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10966" y="4978744"/>
            <a:ext cx="270474" cy="175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lvl="0"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l-PL" dirty="0" smtClean="0"/>
              <a:t>5</a:t>
            </a:r>
            <a:endParaRPr lang="pl-PL" dirty="0"/>
          </a:p>
        </p:txBody>
      </p:sp>
      <p:sp>
        <p:nvSpPr>
          <p:cNvPr id="16" name="Pentagon 15"/>
          <p:cNvSpPr>
            <a:spLocks/>
          </p:cNvSpPr>
          <p:nvPr>
            <p:custDataLst>
              <p:tags r:id="rId6"/>
            </p:custDataLst>
          </p:nvPr>
        </p:nvSpPr>
        <p:spPr bwMode="blackWhite">
          <a:xfrm>
            <a:off x="323528" y="5534933"/>
            <a:ext cx="8004682" cy="530720"/>
          </a:xfrm>
          <a:prstGeom prst="homePlate">
            <a:avLst>
              <a:gd name="adj" fmla="val 18923"/>
            </a:avLst>
          </a:prstGeom>
          <a:solidFill>
            <a:srgbClr val="F19D99"/>
          </a:solidFill>
          <a:ln w="9525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+mj-lt"/>
              </a:rPr>
              <a:t>Jak ułożyć trasy pojazdów dostawczych, aby zminimalizować koszty logistyki przy zachowaniu/poprawie jakości (terminowości)?</a:t>
            </a:r>
            <a:endParaRPr lang="pl-PL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10966" y="5667595"/>
            <a:ext cx="270474" cy="17592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lvl="0"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l-PL" dirty="0" smtClean="0"/>
              <a:t>6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96797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Wyzwania logistyczne dotyczą przedsiębiorstw z rozmaitych branż</a:t>
            </a:r>
            <a:endParaRPr lang="pl-PL" dirty="0"/>
          </a:p>
        </p:txBody>
      </p:sp>
      <p:sp>
        <p:nvSpPr>
          <p:cNvPr id="2" name="Oval 1"/>
          <p:cNvSpPr/>
          <p:nvPr/>
        </p:nvSpPr>
        <p:spPr bwMode="ltGray">
          <a:xfrm>
            <a:off x="1246093" y="1676400"/>
            <a:ext cx="2501153" cy="2286000"/>
          </a:xfrm>
          <a:prstGeom prst="ellipse">
            <a:avLst/>
          </a:prstGeom>
          <a:solidFill>
            <a:schemeClr val="tx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 smtClean="0">
                <a:solidFill>
                  <a:schemeClr val="bg1"/>
                </a:solidFill>
                <a:latin typeface="Georgia" pitchFamily="18" charset="0"/>
              </a:rPr>
              <a:t>Usługi pocztowe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6093" y="3038194"/>
            <a:ext cx="1144681" cy="835168"/>
          </a:xfrm>
          <a:prstGeom prst="rect">
            <a:avLst/>
          </a:prstGeom>
          <a:ln w="28575">
            <a:solidFill>
              <a:srgbClr val="D7D3C7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9308" y="3038194"/>
            <a:ext cx="1212738" cy="835168"/>
          </a:xfrm>
          <a:prstGeom prst="rect">
            <a:avLst/>
          </a:prstGeom>
          <a:ln w="28575">
            <a:solidFill>
              <a:srgbClr val="D7D3C7"/>
            </a:solidFill>
          </a:ln>
        </p:spPr>
      </p:pic>
      <p:sp>
        <p:nvSpPr>
          <p:cNvPr id="17" name="Oval 16"/>
          <p:cNvSpPr/>
          <p:nvPr/>
        </p:nvSpPr>
        <p:spPr bwMode="ltGray">
          <a:xfrm>
            <a:off x="5271246" y="1676400"/>
            <a:ext cx="2501153" cy="2286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 smtClean="0">
                <a:solidFill>
                  <a:schemeClr val="bg1"/>
                </a:solidFill>
                <a:latin typeface="Georgia" pitchFamily="18" charset="0"/>
              </a:rPr>
              <a:t>Branża detaliczna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1246" y="3038194"/>
            <a:ext cx="1164398" cy="835168"/>
          </a:xfrm>
          <a:prstGeom prst="rect">
            <a:avLst/>
          </a:prstGeom>
          <a:ln w="28575">
            <a:solidFill>
              <a:srgbClr val="D7D3C7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8001" y="3038194"/>
            <a:ext cx="1164398" cy="835168"/>
          </a:xfrm>
          <a:prstGeom prst="rect">
            <a:avLst/>
          </a:prstGeom>
          <a:ln w="28575">
            <a:solidFill>
              <a:srgbClr val="D7D3C7"/>
            </a:solidFill>
          </a:ln>
        </p:spPr>
      </p:pic>
      <p:sp>
        <p:nvSpPr>
          <p:cNvPr id="20" name="Oval 19"/>
          <p:cNvSpPr/>
          <p:nvPr/>
        </p:nvSpPr>
        <p:spPr bwMode="ltGray">
          <a:xfrm>
            <a:off x="3215677" y="3962400"/>
            <a:ext cx="2501153" cy="2286000"/>
          </a:xfrm>
          <a:prstGeom prst="ellipse">
            <a:avLst/>
          </a:prstGeom>
          <a:solidFill>
            <a:srgbClr val="EE8C8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 smtClean="0">
                <a:solidFill>
                  <a:schemeClr val="bg1"/>
                </a:solidFill>
                <a:latin typeface="Georgia" pitchFamily="18" charset="0"/>
              </a:rPr>
              <a:t>Transport kolejowy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15677" y="5324194"/>
            <a:ext cx="1163058" cy="835168"/>
          </a:xfrm>
          <a:prstGeom prst="rect">
            <a:avLst/>
          </a:prstGeom>
          <a:ln w="28575">
            <a:solidFill>
              <a:srgbClr val="D7D3C7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149" y="5324194"/>
            <a:ext cx="1144681" cy="835168"/>
          </a:xfrm>
          <a:prstGeom prst="rect">
            <a:avLst/>
          </a:prstGeom>
          <a:ln w="28575">
            <a:solidFill>
              <a:srgbClr val="D7D3C7"/>
            </a:solidFill>
          </a:ln>
        </p:spPr>
      </p:pic>
    </p:spTree>
    <p:extLst>
      <p:ext uri="{BB962C8B-B14F-4D97-AF65-F5344CB8AC3E}">
        <p14:creationId xmlns:p14="http://schemas.microsoft.com/office/powerpoint/2010/main" val="400540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Optymalizując sieci logistyczne i łańcuchy dostaw, podchodzimy do problemu kompleksowo</a:t>
            </a:r>
            <a:endParaRPr lang="pl-PL" dirty="0"/>
          </a:p>
        </p:txBody>
      </p:sp>
      <p:sp>
        <p:nvSpPr>
          <p:cNvPr id="13" name="Freeform 5"/>
          <p:cNvSpPr>
            <a:spLocks/>
          </p:cNvSpPr>
          <p:nvPr/>
        </p:nvSpPr>
        <p:spPr bwMode="auto">
          <a:xfrm>
            <a:off x="3672867" y="1528710"/>
            <a:ext cx="1953923" cy="419038"/>
          </a:xfrm>
          <a:custGeom>
            <a:avLst/>
            <a:gdLst>
              <a:gd name="T0" fmla="*/ 0 w 284"/>
              <a:gd name="T1" fmla="*/ 0 h 279"/>
              <a:gd name="T2" fmla="*/ 2147483647 w 284"/>
              <a:gd name="T3" fmla="*/ 2147483647 h 279"/>
              <a:gd name="T4" fmla="*/ 2147483647 w 284"/>
              <a:gd name="T5" fmla="*/ 2147483647 h 279"/>
              <a:gd name="T6" fmla="*/ 0 w 284"/>
              <a:gd name="T7" fmla="*/ 0 h 279"/>
              <a:gd name="T8" fmla="*/ 0 60000 65536"/>
              <a:gd name="T9" fmla="*/ 0 60000 65536"/>
              <a:gd name="T10" fmla="*/ 0 60000 65536"/>
              <a:gd name="T11" fmla="*/ 0 60000 65536"/>
              <a:gd name="T12" fmla="*/ 0 w 284"/>
              <a:gd name="T13" fmla="*/ 0 h 279"/>
              <a:gd name="T14" fmla="*/ 284 w 284"/>
              <a:gd name="T15" fmla="*/ 279 h 27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4" h="279">
                <a:moveTo>
                  <a:pt x="0" y="0"/>
                </a:moveTo>
                <a:cubicBezTo>
                  <a:pt x="5" y="4"/>
                  <a:pt x="5" y="4"/>
                  <a:pt x="5" y="4"/>
                </a:cubicBezTo>
                <a:cubicBezTo>
                  <a:pt x="5" y="4"/>
                  <a:pt x="244" y="135"/>
                  <a:pt x="284" y="279"/>
                </a:cubicBezTo>
                <a:cubicBezTo>
                  <a:pt x="277" y="137"/>
                  <a:pt x="0" y="0"/>
                  <a:pt x="0" y="0"/>
                </a:cubicBezTo>
                <a:close/>
              </a:path>
            </a:pathLst>
          </a:custGeom>
          <a:solidFill>
            <a:srgbClr val="EA9416"/>
          </a:solidFill>
          <a:ln w="8001" cap="flat">
            <a:noFill/>
            <a:prstDash val="solid"/>
            <a:miter lim="800000"/>
            <a:headEnd/>
            <a:tailEnd/>
          </a:ln>
        </p:spPr>
        <p:txBody>
          <a:bodyPr lIns="91394" tIns="45697" rIns="91394" bIns="45697"/>
          <a:lstStyle/>
          <a:p>
            <a:endParaRPr lang="en-GB"/>
          </a:p>
        </p:txBody>
      </p:sp>
      <p:sp>
        <p:nvSpPr>
          <p:cNvPr id="16" name="Freeform 6"/>
          <p:cNvSpPr>
            <a:spLocks/>
          </p:cNvSpPr>
          <p:nvPr/>
        </p:nvSpPr>
        <p:spPr bwMode="auto">
          <a:xfrm>
            <a:off x="1931635" y="3471527"/>
            <a:ext cx="4653859" cy="1188861"/>
          </a:xfrm>
          <a:custGeom>
            <a:avLst/>
            <a:gdLst>
              <a:gd name="T0" fmla="*/ 2147483647 w 675"/>
              <a:gd name="T1" fmla="*/ 2147483647 h 786"/>
              <a:gd name="T2" fmla="*/ 0 w 675"/>
              <a:gd name="T3" fmla="*/ 2147483647 h 786"/>
              <a:gd name="T4" fmla="*/ 2147483647 w 675"/>
              <a:gd name="T5" fmla="*/ 2147483647 h 786"/>
              <a:gd name="T6" fmla="*/ 2147483647 w 675"/>
              <a:gd name="T7" fmla="*/ 2147483647 h 786"/>
              <a:gd name="T8" fmla="*/ 2147483647 w 675"/>
              <a:gd name="T9" fmla="*/ 0 h 7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75"/>
              <a:gd name="T16" fmla="*/ 0 h 786"/>
              <a:gd name="T17" fmla="*/ 675 w 675"/>
              <a:gd name="T18" fmla="*/ 786 h 78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75" h="786">
                <a:moveTo>
                  <a:pt x="659" y="58"/>
                </a:moveTo>
                <a:cubicBezTo>
                  <a:pt x="571" y="285"/>
                  <a:pt x="0" y="445"/>
                  <a:pt x="0" y="670"/>
                </a:cubicBezTo>
                <a:cubicBezTo>
                  <a:pt x="0" y="708"/>
                  <a:pt x="13" y="747"/>
                  <a:pt x="35" y="786"/>
                </a:cubicBezTo>
                <a:cubicBezTo>
                  <a:pt x="164" y="566"/>
                  <a:pt x="675" y="392"/>
                  <a:pt x="675" y="142"/>
                </a:cubicBezTo>
                <a:cubicBezTo>
                  <a:pt x="670" y="0"/>
                  <a:pt x="670" y="0"/>
                  <a:pt x="670" y="0"/>
                </a:cubicBez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8001" cap="flat">
            <a:noFill/>
            <a:prstDash val="solid"/>
            <a:miter lim="800000"/>
            <a:headEnd/>
            <a:tailEnd/>
          </a:ln>
        </p:spPr>
        <p:txBody>
          <a:bodyPr lIns="91394" tIns="45697" rIns="91394" bIns="45697"/>
          <a:lstStyle/>
          <a:p>
            <a:endParaRPr lang="en-GB"/>
          </a:p>
        </p:txBody>
      </p:sp>
      <p:sp>
        <p:nvSpPr>
          <p:cNvPr id="17" name="Freeform 7"/>
          <p:cNvSpPr>
            <a:spLocks/>
          </p:cNvSpPr>
          <p:nvPr/>
        </p:nvSpPr>
        <p:spPr bwMode="auto">
          <a:xfrm>
            <a:off x="2607813" y="1920765"/>
            <a:ext cx="3023738" cy="739666"/>
          </a:xfrm>
          <a:custGeom>
            <a:avLst/>
            <a:gdLst>
              <a:gd name="T0" fmla="*/ 2147483647 w 439"/>
              <a:gd name="T1" fmla="*/ 2147483647 h 485"/>
              <a:gd name="T2" fmla="*/ 2147483647 w 439"/>
              <a:gd name="T3" fmla="*/ 2147483647 h 485"/>
              <a:gd name="T4" fmla="*/ 0 w 439"/>
              <a:gd name="T5" fmla="*/ 2147483647 h 485"/>
              <a:gd name="T6" fmla="*/ 2147483647 w 439"/>
              <a:gd name="T7" fmla="*/ 2147483647 h 485"/>
              <a:gd name="T8" fmla="*/ 2147483647 w 439"/>
              <a:gd name="T9" fmla="*/ 0 h 485"/>
              <a:gd name="T10" fmla="*/ 2147483647 w 439"/>
              <a:gd name="T11" fmla="*/ 2147483647 h 48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39"/>
              <a:gd name="T19" fmla="*/ 0 h 485"/>
              <a:gd name="T20" fmla="*/ 439 w 439"/>
              <a:gd name="T21" fmla="*/ 485 h 48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39" h="485">
                <a:moveTo>
                  <a:pt x="439" y="40"/>
                </a:moveTo>
                <a:cubicBezTo>
                  <a:pt x="439" y="187"/>
                  <a:pt x="71" y="330"/>
                  <a:pt x="13" y="485"/>
                </a:cubicBezTo>
                <a:cubicBezTo>
                  <a:pt x="5" y="471"/>
                  <a:pt x="0" y="457"/>
                  <a:pt x="0" y="443"/>
                </a:cubicBezTo>
                <a:cubicBezTo>
                  <a:pt x="0" y="289"/>
                  <a:pt x="438" y="149"/>
                  <a:pt x="438" y="5"/>
                </a:cubicBezTo>
                <a:cubicBezTo>
                  <a:pt x="438" y="4"/>
                  <a:pt x="438" y="2"/>
                  <a:pt x="438" y="0"/>
                </a:cubicBezTo>
                <a:lnTo>
                  <a:pt x="439" y="4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8001" cap="flat">
            <a:noFill/>
            <a:prstDash val="solid"/>
            <a:miter lim="800000"/>
            <a:headEnd/>
            <a:tailEnd/>
          </a:ln>
        </p:spPr>
        <p:txBody>
          <a:bodyPr lIns="91394" tIns="45697" rIns="91394" bIns="45697"/>
          <a:lstStyle/>
          <a:p>
            <a:endParaRPr lang="en-GB"/>
          </a:p>
        </p:txBody>
      </p:sp>
      <p:sp>
        <p:nvSpPr>
          <p:cNvPr id="20" name="Freeform 8"/>
          <p:cNvSpPr>
            <a:spLocks/>
          </p:cNvSpPr>
          <p:nvPr/>
        </p:nvSpPr>
        <p:spPr bwMode="auto">
          <a:xfrm>
            <a:off x="2607809" y="2590595"/>
            <a:ext cx="3945939" cy="957121"/>
          </a:xfrm>
          <a:custGeom>
            <a:avLst/>
            <a:gdLst>
              <a:gd name="T0" fmla="*/ 2147483647 w 572"/>
              <a:gd name="T1" fmla="*/ 2147483647 h 630"/>
              <a:gd name="T2" fmla="*/ 2147483647 w 572"/>
              <a:gd name="T3" fmla="*/ 2147483647 h 630"/>
              <a:gd name="T4" fmla="*/ 2147483647 w 572"/>
              <a:gd name="T5" fmla="*/ 2147483647 h 630"/>
              <a:gd name="T6" fmla="*/ 2147483647 w 572"/>
              <a:gd name="T7" fmla="*/ 2147483647 h 630"/>
              <a:gd name="T8" fmla="*/ 0 w 572"/>
              <a:gd name="T9" fmla="*/ 0 h 6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72"/>
              <a:gd name="T16" fmla="*/ 0 h 630"/>
              <a:gd name="T17" fmla="*/ 572 w 572"/>
              <a:gd name="T18" fmla="*/ 630 h 6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72" h="630">
                <a:moveTo>
                  <a:pt x="13" y="42"/>
                </a:moveTo>
                <a:cubicBezTo>
                  <a:pt x="98" y="184"/>
                  <a:pt x="572" y="338"/>
                  <a:pt x="572" y="572"/>
                </a:cubicBezTo>
                <a:cubicBezTo>
                  <a:pt x="572" y="592"/>
                  <a:pt x="568" y="612"/>
                  <a:pt x="561" y="630"/>
                </a:cubicBezTo>
                <a:cubicBezTo>
                  <a:pt x="467" y="393"/>
                  <a:pt x="5" y="235"/>
                  <a:pt x="5" y="81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EA9416"/>
          </a:solidFill>
          <a:ln w="8001" cap="flat">
            <a:noFill/>
            <a:prstDash val="solid"/>
            <a:miter lim="800000"/>
            <a:headEnd/>
            <a:tailEnd/>
          </a:ln>
        </p:spPr>
        <p:txBody>
          <a:bodyPr lIns="91394" tIns="45697" rIns="91394" bIns="45697"/>
          <a:lstStyle/>
          <a:p>
            <a:endParaRPr lang="en-GB"/>
          </a:p>
        </p:txBody>
      </p:sp>
      <p:sp>
        <p:nvSpPr>
          <p:cNvPr id="21" name="Freeform 9"/>
          <p:cNvSpPr>
            <a:spLocks/>
          </p:cNvSpPr>
          <p:nvPr/>
        </p:nvSpPr>
        <p:spPr bwMode="auto">
          <a:xfrm>
            <a:off x="1931634" y="4482614"/>
            <a:ext cx="4739571" cy="1306319"/>
          </a:xfrm>
          <a:custGeom>
            <a:avLst/>
            <a:gdLst>
              <a:gd name="T0" fmla="*/ 0 w 687"/>
              <a:gd name="T1" fmla="*/ 0 h 861"/>
              <a:gd name="T2" fmla="*/ 2147483647 w 687"/>
              <a:gd name="T3" fmla="*/ 2147483647 h 861"/>
              <a:gd name="T4" fmla="*/ 2147483647 w 687"/>
              <a:gd name="T5" fmla="*/ 2147483647 h 861"/>
              <a:gd name="T6" fmla="*/ 2147483647 w 687"/>
              <a:gd name="T7" fmla="*/ 2147483647 h 861"/>
              <a:gd name="T8" fmla="*/ 2147483647 w 687"/>
              <a:gd name="T9" fmla="*/ 2147483647 h 861"/>
              <a:gd name="T10" fmla="*/ 2147483647 w 687"/>
              <a:gd name="T11" fmla="*/ 2147483647 h 861"/>
              <a:gd name="T12" fmla="*/ 2147483647 w 687"/>
              <a:gd name="T13" fmla="*/ 2147483647 h 861"/>
              <a:gd name="T14" fmla="*/ 2147483647 w 687"/>
              <a:gd name="T15" fmla="*/ 2147483647 h 8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87"/>
              <a:gd name="T25" fmla="*/ 0 h 861"/>
              <a:gd name="T26" fmla="*/ 687 w 687"/>
              <a:gd name="T27" fmla="*/ 861 h 86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87" h="861">
                <a:moveTo>
                  <a:pt x="0" y="0"/>
                </a:moveTo>
                <a:cubicBezTo>
                  <a:pt x="5" y="214"/>
                  <a:pt x="5" y="214"/>
                  <a:pt x="5" y="214"/>
                </a:cubicBezTo>
                <a:cubicBezTo>
                  <a:pt x="5" y="484"/>
                  <a:pt x="553" y="820"/>
                  <a:pt x="553" y="820"/>
                </a:cubicBezTo>
                <a:cubicBezTo>
                  <a:pt x="552" y="861"/>
                  <a:pt x="552" y="861"/>
                  <a:pt x="552" y="861"/>
                </a:cubicBezTo>
                <a:cubicBezTo>
                  <a:pt x="687" y="725"/>
                  <a:pt x="687" y="725"/>
                  <a:pt x="687" y="725"/>
                </a:cubicBezTo>
                <a:cubicBezTo>
                  <a:pt x="545" y="501"/>
                  <a:pt x="545" y="501"/>
                  <a:pt x="545" y="501"/>
                </a:cubicBezTo>
                <a:cubicBezTo>
                  <a:pt x="548" y="548"/>
                  <a:pt x="548" y="548"/>
                  <a:pt x="548" y="548"/>
                </a:cubicBezTo>
                <a:cubicBezTo>
                  <a:pt x="548" y="548"/>
                  <a:pt x="155" y="330"/>
                  <a:pt x="35" y="116"/>
                </a:cubicBezTo>
              </a:path>
            </a:pathLst>
          </a:custGeom>
          <a:solidFill>
            <a:srgbClr val="EA9416"/>
          </a:solidFill>
          <a:ln w="8001" cap="flat">
            <a:noFill/>
            <a:prstDash val="solid"/>
            <a:miter lim="800000"/>
            <a:headEnd/>
            <a:tailEnd/>
          </a:ln>
        </p:spPr>
        <p:txBody>
          <a:bodyPr lIns="91394" tIns="45697" rIns="91394" bIns="45697"/>
          <a:lstStyle/>
          <a:p>
            <a:endParaRPr lang="en-GB"/>
          </a:p>
        </p:txBody>
      </p:sp>
      <p:sp>
        <p:nvSpPr>
          <p:cNvPr id="26" name="Pentagon 25"/>
          <p:cNvSpPr/>
          <p:nvPr/>
        </p:nvSpPr>
        <p:spPr bwMode="ltGray">
          <a:xfrm>
            <a:off x="410965" y="1162497"/>
            <a:ext cx="3068835" cy="991602"/>
          </a:xfrm>
          <a:prstGeom prst="homePlate">
            <a:avLst>
              <a:gd name="adj" fmla="val 31469"/>
            </a:avLst>
          </a:prstGeom>
          <a:solidFill>
            <a:srgbClr val="EE8C82"/>
          </a:solidFill>
          <a:ln w="31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Zbieramy dane od Klienta (przepływy, lokalizacje, itd..) oraz ze źródeł zewnętrznych (trasy, czasy przejazdów, mapy)</a:t>
            </a:r>
            <a:endParaRPr lang="en-GB" sz="12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Pentagon 31"/>
          <p:cNvSpPr/>
          <p:nvPr/>
        </p:nvSpPr>
        <p:spPr bwMode="ltGray">
          <a:xfrm flipH="1">
            <a:off x="5626790" y="2030296"/>
            <a:ext cx="3068835" cy="991602"/>
          </a:xfrm>
          <a:prstGeom prst="homePlate">
            <a:avLst>
              <a:gd name="adj" fmla="val 31469"/>
            </a:avLst>
          </a:prstGeom>
          <a:solidFill>
            <a:srgbClr val="EE8C82"/>
          </a:solidFill>
          <a:ln w="31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Definiujemy funkcje optymalizacyjne</a:t>
            </a:r>
            <a:b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(minimalizacja kosztu transportu/operacji/inwestycji/…)</a:t>
            </a:r>
          </a:p>
          <a:p>
            <a:pPr algn="ctr"/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oraz ograniczenia</a:t>
            </a:r>
            <a:endParaRPr lang="en-GB" sz="12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410965" y="2855664"/>
            <a:ext cx="3068835" cy="1247312"/>
          </a:xfrm>
          <a:prstGeom prst="homePlate">
            <a:avLst>
              <a:gd name="adj" fmla="val 31469"/>
            </a:avLst>
          </a:prstGeom>
          <a:solidFill>
            <a:srgbClr val="EE8C82"/>
          </a:solidFill>
          <a:ln w="31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Studiujemy wyniki analiz deskryptywnych oraz scenariuszowych we współpracy z zespołami konsultantów specjalizujących się w procesach Supply </a:t>
            </a:r>
            <a:r>
              <a:rPr lang="pl-PL" sz="1200" b="1" dirty="0" err="1" smtClean="0">
                <a:solidFill>
                  <a:schemeClr val="bg1"/>
                </a:solidFill>
                <a:latin typeface="Georgia" pitchFamily="18" charset="0"/>
              </a:rPr>
              <a:t>Chainu</a:t>
            </a:r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 oraz z klientem </a:t>
            </a:r>
            <a:endParaRPr lang="en-GB" sz="12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4" name="Pentagon 33"/>
          <p:cNvSpPr/>
          <p:nvPr/>
        </p:nvSpPr>
        <p:spPr bwMode="ltGray">
          <a:xfrm flipH="1">
            <a:off x="5626790" y="4102976"/>
            <a:ext cx="3068835" cy="991602"/>
          </a:xfrm>
          <a:prstGeom prst="homePlate">
            <a:avLst>
              <a:gd name="adj" fmla="val 31469"/>
            </a:avLst>
          </a:prstGeom>
          <a:solidFill>
            <a:srgbClr val="EE8C82"/>
          </a:solidFill>
          <a:ln w="31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Tworzymy modele docelowych sieci logistycznych, analizy </a:t>
            </a:r>
            <a:r>
              <a:rPr lang="pl-PL" sz="1200" b="1" dirty="0" err="1" smtClean="0">
                <a:solidFill>
                  <a:schemeClr val="bg1"/>
                </a:solidFill>
                <a:latin typeface="Georgia" pitchFamily="18" charset="0"/>
              </a:rPr>
              <a:t>stress</a:t>
            </a:r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-testowe oraz aplikacje symulacyjne</a:t>
            </a:r>
            <a:endParaRPr lang="en-GB" sz="12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5" name="Pentagon 34"/>
          <p:cNvSpPr/>
          <p:nvPr/>
        </p:nvSpPr>
        <p:spPr bwMode="ltGray">
          <a:xfrm>
            <a:off x="410965" y="5377296"/>
            <a:ext cx="3068835" cy="991602"/>
          </a:xfrm>
          <a:prstGeom prst="homePlate">
            <a:avLst>
              <a:gd name="adj" fmla="val 31469"/>
            </a:avLst>
          </a:prstGeom>
          <a:solidFill>
            <a:srgbClr val="EE8C82"/>
          </a:solidFill>
          <a:ln w="31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200" b="1" dirty="0" smtClean="0">
                <a:solidFill>
                  <a:schemeClr val="bg1"/>
                </a:solidFill>
                <a:latin typeface="Georgia" pitchFamily="18" charset="0"/>
              </a:rPr>
              <a:t>Dostarczamy Klientowi pełne wyniki analiz w uzgodnionej formule i formie</a:t>
            </a:r>
            <a:endParaRPr lang="en-GB" sz="12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2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W naszych projektach logistycznych wykorzystujemy zaawansowane narzędzia analityczne</a:t>
            </a:r>
            <a:endParaRPr lang="pl-PL" dirty="0"/>
          </a:p>
        </p:txBody>
      </p:sp>
      <p:grpSp>
        <p:nvGrpSpPr>
          <p:cNvPr id="23" name="Group 22"/>
          <p:cNvGrpSpPr/>
          <p:nvPr/>
        </p:nvGrpSpPr>
        <p:grpSpPr>
          <a:xfrm>
            <a:off x="2771254" y="1222033"/>
            <a:ext cx="3483480" cy="5133931"/>
            <a:chOff x="567076" y="1908423"/>
            <a:chExt cx="3372010" cy="4968552"/>
          </a:xfrm>
        </p:grpSpPr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567076" y="1908423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567076" y="4227067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flipH="1">
              <a:off x="567076" y="3071350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 flipH="1">
              <a:off x="567076" y="5389994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rgbClr val="EB8C00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Oval 28"/>
            <p:cNvSpPr/>
            <p:nvPr/>
          </p:nvSpPr>
          <p:spPr bwMode="ltGray">
            <a:xfrm>
              <a:off x="682277" y="2426688"/>
              <a:ext cx="611119" cy="611119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ltGray">
            <a:xfrm>
              <a:off x="3264215" y="3549585"/>
              <a:ext cx="611119" cy="611119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Oval 31"/>
            <p:cNvSpPr/>
            <p:nvPr/>
          </p:nvSpPr>
          <p:spPr bwMode="ltGray">
            <a:xfrm>
              <a:off x="3264216" y="5857674"/>
              <a:ext cx="611119" cy="611119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890316" y="2491743"/>
              <a:ext cx="914400" cy="3527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GB" sz="1200" b="1" dirty="0" err="1">
                  <a:solidFill>
                    <a:schemeClr val="bg2"/>
                  </a:solidFill>
                  <a:latin typeface="Georgia" pitchFamily="18" charset="0"/>
                </a:rPr>
                <a:t>Ustrukturyzowanie</a:t>
              </a:r>
              <a:r>
                <a:rPr lang="en-GB" sz="1200" b="1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200" b="1" dirty="0" err="1">
                  <a:solidFill>
                    <a:schemeClr val="bg2"/>
                  </a:solidFill>
                  <a:latin typeface="Georgia" pitchFamily="18" charset="0"/>
                </a:rPr>
                <a:t>i</a:t>
              </a:r>
              <a:r>
                <a:rPr lang="en-GB" sz="1200" b="1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/>
              </a:r>
              <a:b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</a:br>
              <a:r>
                <a:rPr lang="en-GB" sz="1200" b="1" dirty="0" err="1" smtClean="0">
                  <a:solidFill>
                    <a:schemeClr val="bg2"/>
                  </a:solidFill>
                  <a:latin typeface="Georgia" pitchFamily="18" charset="0"/>
                </a:rPr>
                <a:t>przygotowanie</a:t>
              </a:r>
              <a:r>
                <a:rPr lang="en-GB" sz="1200" b="1" dirty="0" smtClean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200" b="1" dirty="0" err="1">
                  <a:solidFill>
                    <a:schemeClr val="bg2"/>
                  </a:solidFill>
                  <a:latin typeface="Georgia" pitchFamily="18" charset="0"/>
                </a:rPr>
                <a:t>danych</a:t>
              </a:r>
              <a:endParaRPr lang="en-GB" sz="1200" b="1" dirty="0">
                <a:solidFill>
                  <a:schemeClr val="bg2"/>
                </a:solidFill>
                <a:latin typeface="Georgia" pitchFamily="18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795881" y="3611887"/>
              <a:ext cx="914400" cy="3527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Analiza scenariuszowa i </a:t>
              </a: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/>
              </a:r>
              <a:b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</a:b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>modele </a:t>
              </a:r>
              <a:r>
                <a:rPr lang="pl-PL" sz="1200" b="1" dirty="0" err="1">
                  <a:solidFill>
                    <a:schemeClr val="bg2"/>
                  </a:solidFill>
                  <a:latin typeface="Georgia" pitchFamily="18" charset="0"/>
                </a:rPr>
                <a:t>klastrujące</a:t>
              </a:r>
              <a:endParaRPr lang="pl-PL" sz="1200" b="1" dirty="0">
                <a:solidFill>
                  <a:schemeClr val="bg2"/>
                </a:solidFill>
                <a:latin typeface="Georgia" pitchFamily="18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031761" y="4796333"/>
              <a:ext cx="914400" cy="3527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Dynamiczne symulacje </a:t>
              </a: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/>
              </a:r>
              <a:b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</a:b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>modelowanej </a:t>
              </a: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sieci logistycznej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795881" y="5820447"/>
              <a:ext cx="914400" cy="3527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Wizualizacja sieci, prezentacja </a:t>
              </a: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/>
              </a:r>
              <a:b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</a:b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>architektury sieci</a:t>
              </a: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, </a:t>
              </a: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/>
              </a:r>
              <a:b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</a:b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>przepływów</a:t>
              </a: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, </a:t>
              </a:r>
              <a:r>
                <a:rPr lang="pl-PL" sz="1200" b="1" dirty="0" smtClean="0">
                  <a:solidFill>
                    <a:schemeClr val="bg2"/>
                  </a:solidFill>
                  <a:latin typeface="Georgia" pitchFamily="18" charset="0"/>
                </a:rPr>
                <a:t>tras </a:t>
              </a:r>
              <a:r>
                <a:rPr lang="pl-PL" sz="1200" b="1" dirty="0">
                  <a:solidFill>
                    <a:schemeClr val="bg2"/>
                  </a:solidFill>
                  <a:latin typeface="Georgia" pitchFamily="18" charset="0"/>
                </a:rPr>
                <a:t>itp..</a:t>
              </a:r>
            </a:p>
          </p:txBody>
        </p:sp>
        <p:sp>
          <p:nvSpPr>
            <p:cNvPr id="39" name="Freeform 4995"/>
            <p:cNvSpPr>
              <a:spLocks noEditPoints="1"/>
            </p:cNvSpPr>
            <p:nvPr/>
          </p:nvSpPr>
          <p:spPr bwMode="auto">
            <a:xfrm>
              <a:off x="886327" y="4873369"/>
              <a:ext cx="407068" cy="457951"/>
            </a:xfrm>
            <a:custGeom>
              <a:avLst/>
              <a:gdLst>
                <a:gd name="T0" fmla="*/ 54 w 336"/>
                <a:gd name="T1" fmla="*/ 152 h 378"/>
                <a:gd name="T2" fmla="*/ 62 w 336"/>
                <a:gd name="T3" fmla="*/ 142 h 378"/>
                <a:gd name="T4" fmla="*/ 86 w 336"/>
                <a:gd name="T5" fmla="*/ 122 h 378"/>
                <a:gd name="T6" fmla="*/ 42 w 336"/>
                <a:gd name="T7" fmla="*/ 228 h 378"/>
                <a:gd name="T8" fmla="*/ 94 w 336"/>
                <a:gd name="T9" fmla="*/ 250 h 378"/>
                <a:gd name="T10" fmla="*/ 162 w 336"/>
                <a:gd name="T11" fmla="*/ 160 h 378"/>
                <a:gd name="T12" fmla="*/ 200 w 336"/>
                <a:gd name="T13" fmla="*/ 80 h 378"/>
                <a:gd name="T14" fmla="*/ 162 w 336"/>
                <a:gd name="T15" fmla="*/ 22 h 378"/>
                <a:gd name="T16" fmla="*/ 154 w 336"/>
                <a:gd name="T17" fmla="*/ 8 h 378"/>
                <a:gd name="T18" fmla="*/ 122 w 336"/>
                <a:gd name="T19" fmla="*/ 8 h 378"/>
                <a:gd name="T20" fmla="*/ 104 w 336"/>
                <a:gd name="T21" fmla="*/ 40 h 378"/>
                <a:gd name="T22" fmla="*/ 84 w 336"/>
                <a:gd name="T23" fmla="*/ 98 h 378"/>
                <a:gd name="T24" fmla="*/ 56 w 336"/>
                <a:gd name="T25" fmla="*/ 128 h 378"/>
                <a:gd name="T26" fmla="*/ 50 w 336"/>
                <a:gd name="T27" fmla="*/ 126 h 378"/>
                <a:gd name="T28" fmla="*/ 36 w 336"/>
                <a:gd name="T29" fmla="*/ 134 h 378"/>
                <a:gd name="T30" fmla="*/ 42 w 336"/>
                <a:gd name="T31" fmla="*/ 152 h 378"/>
                <a:gd name="T32" fmla="*/ 162 w 336"/>
                <a:gd name="T33" fmla="*/ 46 h 378"/>
                <a:gd name="T34" fmla="*/ 168 w 336"/>
                <a:gd name="T35" fmla="*/ 54 h 378"/>
                <a:gd name="T36" fmla="*/ 116 w 336"/>
                <a:gd name="T37" fmla="*/ 134 h 378"/>
                <a:gd name="T38" fmla="*/ 74 w 336"/>
                <a:gd name="T39" fmla="*/ 216 h 378"/>
                <a:gd name="T40" fmla="*/ 68 w 336"/>
                <a:gd name="T41" fmla="*/ 220 h 378"/>
                <a:gd name="T42" fmla="*/ 62 w 336"/>
                <a:gd name="T43" fmla="*/ 212 h 378"/>
                <a:gd name="T44" fmla="*/ 106 w 336"/>
                <a:gd name="T45" fmla="*/ 128 h 378"/>
                <a:gd name="T46" fmla="*/ 158 w 336"/>
                <a:gd name="T47" fmla="*/ 48 h 378"/>
                <a:gd name="T48" fmla="*/ 124 w 336"/>
                <a:gd name="T49" fmla="*/ 28 h 378"/>
                <a:gd name="T50" fmla="*/ 134 w 336"/>
                <a:gd name="T51" fmla="*/ 20 h 378"/>
                <a:gd name="T52" fmla="*/ 148 w 336"/>
                <a:gd name="T53" fmla="*/ 26 h 378"/>
                <a:gd name="T54" fmla="*/ 128 w 336"/>
                <a:gd name="T55" fmla="*/ 58 h 378"/>
                <a:gd name="T56" fmla="*/ 120 w 336"/>
                <a:gd name="T57" fmla="*/ 44 h 378"/>
                <a:gd name="T58" fmla="*/ 34 w 336"/>
                <a:gd name="T59" fmla="*/ 262 h 378"/>
                <a:gd name="T60" fmla="*/ 64 w 336"/>
                <a:gd name="T61" fmla="*/ 280 h 378"/>
                <a:gd name="T62" fmla="*/ 170 w 336"/>
                <a:gd name="T63" fmla="*/ 12 h 378"/>
                <a:gd name="T64" fmla="*/ 194 w 336"/>
                <a:gd name="T65" fmla="*/ 0 h 378"/>
                <a:gd name="T66" fmla="*/ 214 w 336"/>
                <a:gd name="T67" fmla="*/ 18 h 378"/>
                <a:gd name="T68" fmla="*/ 336 w 336"/>
                <a:gd name="T69" fmla="*/ 212 h 378"/>
                <a:gd name="T70" fmla="*/ 330 w 336"/>
                <a:gd name="T71" fmla="*/ 222 h 378"/>
                <a:gd name="T72" fmla="*/ 264 w 336"/>
                <a:gd name="T73" fmla="*/ 226 h 378"/>
                <a:gd name="T74" fmla="*/ 196 w 336"/>
                <a:gd name="T75" fmla="*/ 246 h 378"/>
                <a:gd name="T76" fmla="*/ 188 w 336"/>
                <a:gd name="T77" fmla="*/ 264 h 378"/>
                <a:gd name="T78" fmla="*/ 212 w 336"/>
                <a:gd name="T79" fmla="*/ 284 h 378"/>
                <a:gd name="T80" fmla="*/ 228 w 336"/>
                <a:gd name="T81" fmla="*/ 314 h 378"/>
                <a:gd name="T82" fmla="*/ 214 w 336"/>
                <a:gd name="T83" fmla="*/ 342 h 378"/>
                <a:gd name="T84" fmla="*/ 142 w 336"/>
                <a:gd name="T85" fmla="*/ 368 h 378"/>
                <a:gd name="T86" fmla="*/ 44 w 336"/>
                <a:gd name="T87" fmla="*/ 378 h 378"/>
                <a:gd name="T88" fmla="*/ 2 w 336"/>
                <a:gd name="T89" fmla="*/ 376 h 378"/>
                <a:gd name="T90" fmla="*/ 0 w 336"/>
                <a:gd name="T91" fmla="*/ 364 h 378"/>
                <a:gd name="T92" fmla="*/ 10 w 336"/>
                <a:gd name="T93" fmla="*/ 358 h 378"/>
                <a:gd name="T94" fmla="*/ 156 w 336"/>
                <a:gd name="T95" fmla="*/ 344 h 378"/>
                <a:gd name="T96" fmla="*/ 208 w 336"/>
                <a:gd name="T97" fmla="*/ 318 h 378"/>
                <a:gd name="T98" fmla="*/ 204 w 336"/>
                <a:gd name="T99" fmla="*/ 304 h 378"/>
                <a:gd name="T100" fmla="*/ 176 w 336"/>
                <a:gd name="T101" fmla="*/ 282 h 378"/>
                <a:gd name="T102" fmla="*/ 168 w 336"/>
                <a:gd name="T103" fmla="*/ 260 h 378"/>
                <a:gd name="T104" fmla="*/ 186 w 336"/>
                <a:gd name="T105" fmla="*/ 228 h 378"/>
                <a:gd name="T106" fmla="*/ 254 w 336"/>
                <a:gd name="T107" fmla="*/ 206 h 378"/>
                <a:gd name="T108" fmla="*/ 330 w 336"/>
                <a:gd name="T109" fmla="*/ 202 h 378"/>
                <a:gd name="T110" fmla="*/ 336 w 336"/>
                <a:gd name="T111" fmla="*/ 212 h 378"/>
                <a:gd name="T112" fmla="*/ 10 w 336"/>
                <a:gd name="T113" fmla="*/ 270 h 378"/>
                <a:gd name="T114" fmla="*/ 40 w 336"/>
                <a:gd name="T115" fmla="*/ 274 h 378"/>
                <a:gd name="T116" fmla="*/ 26 w 336"/>
                <a:gd name="T117" fmla="*/ 310 h 378"/>
                <a:gd name="T118" fmla="*/ 32 w 336"/>
                <a:gd name="T119" fmla="*/ 310 h 378"/>
                <a:gd name="T120" fmla="*/ 58 w 336"/>
                <a:gd name="T121" fmla="*/ 286 h 378"/>
                <a:gd name="T122" fmla="*/ 68 w 336"/>
                <a:gd name="T123" fmla="*/ 304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6" h="378">
                  <a:moveTo>
                    <a:pt x="42" y="152"/>
                  </a:moveTo>
                  <a:lnTo>
                    <a:pt x="42" y="152"/>
                  </a:lnTo>
                  <a:lnTo>
                    <a:pt x="48" y="154"/>
                  </a:lnTo>
                  <a:lnTo>
                    <a:pt x="54" y="152"/>
                  </a:lnTo>
                  <a:lnTo>
                    <a:pt x="58" y="150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74" y="134"/>
                  </a:lnTo>
                  <a:lnTo>
                    <a:pt x="86" y="122"/>
                  </a:lnTo>
                  <a:lnTo>
                    <a:pt x="86" y="122"/>
                  </a:lnTo>
                  <a:lnTo>
                    <a:pt x="64" y="166"/>
                  </a:lnTo>
                  <a:lnTo>
                    <a:pt x="50" y="200"/>
                  </a:lnTo>
                  <a:lnTo>
                    <a:pt x="44" y="220"/>
                  </a:lnTo>
                  <a:lnTo>
                    <a:pt x="42" y="228"/>
                  </a:lnTo>
                  <a:lnTo>
                    <a:pt x="66" y="242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94" y="250"/>
                  </a:lnTo>
                  <a:lnTo>
                    <a:pt x="110" y="232"/>
                  </a:lnTo>
                  <a:lnTo>
                    <a:pt x="134" y="202"/>
                  </a:lnTo>
                  <a:lnTo>
                    <a:pt x="148" y="182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74" y="136"/>
                  </a:lnTo>
                  <a:lnTo>
                    <a:pt x="184" y="114"/>
                  </a:lnTo>
                  <a:lnTo>
                    <a:pt x="200" y="80"/>
                  </a:lnTo>
                  <a:lnTo>
                    <a:pt x="206" y="56"/>
                  </a:lnTo>
                  <a:lnTo>
                    <a:pt x="208" y="48"/>
                  </a:lnTo>
                  <a:lnTo>
                    <a:pt x="184" y="34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0" y="14"/>
                  </a:lnTo>
                  <a:lnTo>
                    <a:pt x="154" y="8"/>
                  </a:lnTo>
                  <a:lnTo>
                    <a:pt x="154" y="8"/>
                  </a:lnTo>
                  <a:lnTo>
                    <a:pt x="146" y="4"/>
                  </a:lnTo>
                  <a:lnTo>
                    <a:pt x="138" y="4"/>
                  </a:lnTo>
                  <a:lnTo>
                    <a:pt x="130" y="4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16" y="14"/>
                  </a:lnTo>
                  <a:lnTo>
                    <a:pt x="110" y="2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8" y="64"/>
                  </a:lnTo>
                  <a:lnTo>
                    <a:pt x="92" y="80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78" y="108"/>
                  </a:lnTo>
                  <a:lnTo>
                    <a:pt x="70" y="116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0" y="126"/>
                  </a:lnTo>
                  <a:lnTo>
                    <a:pt x="44" y="126"/>
                  </a:lnTo>
                  <a:lnTo>
                    <a:pt x="40" y="128"/>
                  </a:lnTo>
                  <a:lnTo>
                    <a:pt x="36" y="134"/>
                  </a:lnTo>
                  <a:lnTo>
                    <a:pt x="36" y="134"/>
                  </a:lnTo>
                  <a:lnTo>
                    <a:pt x="34" y="138"/>
                  </a:lnTo>
                  <a:lnTo>
                    <a:pt x="36" y="144"/>
                  </a:lnTo>
                  <a:lnTo>
                    <a:pt x="38" y="148"/>
                  </a:lnTo>
                  <a:lnTo>
                    <a:pt x="42" y="152"/>
                  </a:lnTo>
                  <a:lnTo>
                    <a:pt x="42" y="152"/>
                  </a:lnTo>
                  <a:close/>
                  <a:moveTo>
                    <a:pt x="158" y="48"/>
                  </a:moveTo>
                  <a:lnTo>
                    <a:pt x="158" y="48"/>
                  </a:lnTo>
                  <a:lnTo>
                    <a:pt x="162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8" y="50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52" y="76"/>
                  </a:lnTo>
                  <a:lnTo>
                    <a:pt x="136" y="100"/>
                  </a:lnTo>
                  <a:lnTo>
                    <a:pt x="116" y="134"/>
                  </a:lnTo>
                  <a:lnTo>
                    <a:pt x="116" y="134"/>
                  </a:lnTo>
                  <a:lnTo>
                    <a:pt x="96" y="168"/>
                  </a:lnTo>
                  <a:lnTo>
                    <a:pt x="84" y="194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2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4" y="218"/>
                  </a:lnTo>
                  <a:lnTo>
                    <a:pt x="62" y="212"/>
                  </a:lnTo>
                  <a:lnTo>
                    <a:pt x="62" y="212"/>
                  </a:lnTo>
                  <a:lnTo>
                    <a:pt x="74" y="188"/>
                  </a:lnTo>
                  <a:lnTo>
                    <a:pt x="86" y="162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26" y="92"/>
                  </a:lnTo>
                  <a:lnTo>
                    <a:pt x="142" y="68"/>
                  </a:lnTo>
                  <a:lnTo>
                    <a:pt x="158" y="48"/>
                  </a:lnTo>
                  <a:lnTo>
                    <a:pt x="158" y="48"/>
                  </a:lnTo>
                  <a:close/>
                  <a:moveTo>
                    <a:pt x="120" y="44"/>
                  </a:moveTo>
                  <a:lnTo>
                    <a:pt x="120" y="44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4" y="20"/>
                  </a:lnTo>
                  <a:lnTo>
                    <a:pt x="138" y="20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8" y="26"/>
                  </a:lnTo>
                  <a:lnTo>
                    <a:pt x="148" y="30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28" y="58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14" y="66"/>
                  </a:lnTo>
                  <a:lnTo>
                    <a:pt x="120" y="44"/>
                  </a:lnTo>
                  <a:lnTo>
                    <a:pt x="120" y="44"/>
                  </a:lnTo>
                  <a:close/>
                  <a:moveTo>
                    <a:pt x="50" y="270"/>
                  </a:moveTo>
                  <a:lnTo>
                    <a:pt x="50" y="270"/>
                  </a:lnTo>
                  <a:lnTo>
                    <a:pt x="34" y="262"/>
                  </a:lnTo>
                  <a:lnTo>
                    <a:pt x="38" y="240"/>
                  </a:lnTo>
                  <a:lnTo>
                    <a:pt x="80" y="264"/>
                  </a:lnTo>
                  <a:lnTo>
                    <a:pt x="64" y="280"/>
                  </a:lnTo>
                  <a:lnTo>
                    <a:pt x="64" y="280"/>
                  </a:lnTo>
                  <a:lnTo>
                    <a:pt x="50" y="270"/>
                  </a:lnTo>
                  <a:lnTo>
                    <a:pt x="50" y="270"/>
                  </a:lnTo>
                  <a:close/>
                  <a:moveTo>
                    <a:pt x="212" y="36"/>
                  </a:moveTo>
                  <a:lnTo>
                    <a:pt x="170" y="12"/>
                  </a:lnTo>
                  <a:lnTo>
                    <a:pt x="170" y="12"/>
                  </a:lnTo>
                  <a:lnTo>
                    <a:pt x="176" y="4"/>
                  </a:lnTo>
                  <a:lnTo>
                    <a:pt x="184" y="0"/>
                  </a:lnTo>
                  <a:lnTo>
                    <a:pt x="194" y="0"/>
                  </a:lnTo>
                  <a:lnTo>
                    <a:pt x="204" y="2"/>
                  </a:lnTo>
                  <a:lnTo>
                    <a:pt x="204" y="2"/>
                  </a:lnTo>
                  <a:lnTo>
                    <a:pt x="210" y="8"/>
                  </a:lnTo>
                  <a:lnTo>
                    <a:pt x="214" y="18"/>
                  </a:lnTo>
                  <a:lnTo>
                    <a:pt x="216" y="26"/>
                  </a:lnTo>
                  <a:lnTo>
                    <a:pt x="212" y="36"/>
                  </a:lnTo>
                  <a:lnTo>
                    <a:pt x="212" y="36"/>
                  </a:lnTo>
                  <a:close/>
                  <a:moveTo>
                    <a:pt x="336" y="212"/>
                  </a:moveTo>
                  <a:lnTo>
                    <a:pt x="336" y="212"/>
                  </a:lnTo>
                  <a:lnTo>
                    <a:pt x="334" y="216"/>
                  </a:lnTo>
                  <a:lnTo>
                    <a:pt x="332" y="218"/>
                  </a:lnTo>
                  <a:lnTo>
                    <a:pt x="330" y="222"/>
                  </a:lnTo>
                  <a:lnTo>
                    <a:pt x="326" y="222"/>
                  </a:lnTo>
                  <a:lnTo>
                    <a:pt x="326" y="222"/>
                  </a:lnTo>
                  <a:lnTo>
                    <a:pt x="292" y="222"/>
                  </a:lnTo>
                  <a:lnTo>
                    <a:pt x="264" y="226"/>
                  </a:lnTo>
                  <a:lnTo>
                    <a:pt x="240" y="228"/>
                  </a:lnTo>
                  <a:lnTo>
                    <a:pt x="220" y="234"/>
                  </a:lnTo>
                  <a:lnTo>
                    <a:pt x="206" y="240"/>
                  </a:lnTo>
                  <a:lnTo>
                    <a:pt x="196" y="246"/>
                  </a:lnTo>
                  <a:lnTo>
                    <a:pt x="190" y="252"/>
                  </a:lnTo>
                  <a:lnTo>
                    <a:pt x="188" y="260"/>
                  </a:lnTo>
                  <a:lnTo>
                    <a:pt x="188" y="260"/>
                  </a:lnTo>
                  <a:lnTo>
                    <a:pt x="188" y="264"/>
                  </a:lnTo>
                  <a:lnTo>
                    <a:pt x="192" y="270"/>
                  </a:lnTo>
                  <a:lnTo>
                    <a:pt x="204" y="278"/>
                  </a:lnTo>
                  <a:lnTo>
                    <a:pt x="204" y="278"/>
                  </a:lnTo>
                  <a:lnTo>
                    <a:pt x="212" y="284"/>
                  </a:lnTo>
                  <a:lnTo>
                    <a:pt x="220" y="292"/>
                  </a:lnTo>
                  <a:lnTo>
                    <a:pt x="226" y="302"/>
                  </a:lnTo>
                  <a:lnTo>
                    <a:pt x="228" y="308"/>
                  </a:lnTo>
                  <a:lnTo>
                    <a:pt x="228" y="314"/>
                  </a:lnTo>
                  <a:lnTo>
                    <a:pt x="228" y="314"/>
                  </a:lnTo>
                  <a:lnTo>
                    <a:pt x="228" y="324"/>
                  </a:lnTo>
                  <a:lnTo>
                    <a:pt x="222" y="334"/>
                  </a:lnTo>
                  <a:lnTo>
                    <a:pt x="214" y="342"/>
                  </a:lnTo>
                  <a:lnTo>
                    <a:pt x="200" y="350"/>
                  </a:lnTo>
                  <a:lnTo>
                    <a:pt x="184" y="356"/>
                  </a:lnTo>
                  <a:lnTo>
                    <a:pt x="166" y="362"/>
                  </a:lnTo>
                  <a:lnTo>
                    <a:pt x="142" y="368"/>
                  </a:lnTo>
                  <a:lnTo>
                    <a:pt x="116" y="372"/>
                  </a:lnTo>
                  <a:lnTo>
                    <a:pt x="116" y="372"/>
                  </a:lnTo>
                  <a:lnTo>
                    <a:pt x="78" y="376"/>
                  </a:lnTo>
                  <a:lnTo>
                    <a:pt x="44" y="378"/>
                  </a:lnTo>
                  <a:lnTo>
                    <a:pt x="10" y="378"/>
                  </a:lnTo>
                  <a:lnTo>
                    <a:pt x="10" y="378"/>
                  </a:lnTo>
                  <a:lnTo>
                    <a:pt x="6" y="378"/>
                  </a:lnTo>
                  <a:lnTo>
                    <a:pt x="2" y="376"/>
                  </a:lnTo>
                  <a:lnTo>
                    <a:pt x="0" y="372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4"/>
                  </a:lnTo>
                  <a:lnTo>
                    <a:pt x="2" y="362"/>
                  </a:lnTo>
                  <a:lnTo>
                    <a:pt x="6" y="360"/>
                  </a:lnTo>
                  <a:lnTo>
                    <a:pt x="10" y="358"/>
                  </a:lnTo>
                  <a:lnTo>
                    <a:pt x="10" y="358"/>
                  </a:lnTo>
                  <a:lnTo>
                    <a:pt x="54" y="358"/>
                  </a:lnTo>
                  <a:lnTo>
                    <a:pt x="92" y="354"/>
                  </a:lnTo>
                  <a:lnTo>
                    <a:pt x="126" y="350"/>
                  </a:lnTo>
                  <a:lnTo>
                    <a:pt x="156" y="344"/>
                  </a:lnTo>
                  <a:lnTo>
                    <a:pt x="178" y="338"/>
                  </a:lnTo>
                  <a:lnTo>
                    <a:pt x="194" y="330"/>
                  </a:lnTo>
                  <a:lnTo>
                    <a:pt x="206" y="322"/>
                  </a:lnTo>
                  <a:lnTo>
                    <a:pt x="208" y="318"/>
                  </a:lnTo>
                  <a:lnTo>
                    <a:pt x="208" y="314"/>
                  </a:lnTo>
                  <a:lnTo>
                    <a:pt x="208" y="314"/>
                  </a:lnTo>
                  <a:lnTo>
                    <a:pt x="208" y="310"/>
                  </a:lnTo>
                  <a:lnTo>
                    <a:pt x="204" y="304"/>
                  </a:lnTo>
                  <a:lnTo>
                    <a:pt x="192" y="294"/>
                  </a:lnTo>
                  <a:lnTo>
                    <a:pt x="192" y="294"/>
                  </a:lnTo>
                  <a:lnTo>
                    <a:pt x="184" y="288"/>
                  </a:lnTo>
                  <a:lnTo>
                    <a:pt x="176" y="282"/>
                  </a:lnTo>
                  <a:lnTo>
                    <a:pt x="170" y="272"/>
                  </a:lnTo>
                  <a:lnTo>
                    <a:pt x="168" y="266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50"/>
                  </a:lnTo>
                  <a:lnTo>
                    <a:pt x="172" y="242"/>
                  </a:lnTo>
                  <a:lnTo>
                    <a:pt x="178" y="234"/>
                  </a:lnTo>
                  <a:lnTo>
                    <a:pt x="186" y="228"/>
                  </a:lnTo>
                  <a:lnTo>
                    <a:pt x="194" y="224"/>
                  </a:lnTo>
                  <a:lnTo>
                    <a:pt x="204" y="218"/>
                  </a:lnTo>
                  <a:lnTo>
                    <a:pt x="228" y="212"/>
                  </a:lnTo>
                  <a:lnTo>
                    <a:pt x="254" y="206"/>
                  </a:lnTo>
                  <a:lnTo>
                    <a:pt x="280" y="204"/>
                  </a:lnTo>
                  <a:lnTo>
                    <a:pt x="326" y="202"/>
                  </a:lnTo>
                  <a:lnTo>
                    <a:pt x="326" y="202"/>
                  </a:lnTo>
                  <a:lnTo>
                    <a:pt x="330" y="202"/>
                  </a:lnTo>
                  <a:lnTo>
                    <a:pt x="332" y="204"/>
                  </a:lnTo>
                  <a:lnTo>
                    <a:pt x="334" y="208"/>
                  </a:lnTo>
                  <a:lnTo>
                    <a:pt x="336" y="212"/>
                  </a:lnTo>
                  <a:lnTo>
                    <a:pt x="336" y="212"/>
                  </a:lnTo>
                  <a:close/>
                  <a:moveTo>
                    <a:pt x="68" y="304"/>
                  </a:moveTo>
                  <a:lnTo>
                    <a:pt x="10" y="338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6" y="268"/>
                  </a:lnTo>
                  <a:lnTo>
                    <a:pt x="22" y="270"/>
                  </a:lnTo>
                  <a:lnTo>
                    <a:pt x="30" y="270"/>
                  </a:lnTo>
                  <a:lnTo>
                    <a:pt x="40" y="274"/>
                  </a:lnTo>
                  <a:lnTo>
                    <a:pt x="24" y="302"/>
                  </a:lnTo>
                  <a:lnTo>
                    <a:pt x="24" y="302"/>
                  </a:lnTo>
                  <a:lnTo>
                    <a:pt x="22" y="308"/>
                  </a:lnTo>
                  <a:lnTo>
                    <a:pt x="26" y="310"/>
                  </a:lnTo>
                  <a:lnTo>
                    <a:pt x="26" y="310"/>
                  </a:lnTo>
                  <a:lnTo>
                    <a:pt x="28" y="312"/>
                  </a:lnTo>
                  <a:lnTo>
                    <a:pt x="28" y="312"/>
                  </a:lnTo>
                  <a:lnTo>
                    <a:pt x="32" y="310"/>
                  </a:lnTo>
                  <a:lnTo>
                    <a:pt x="34" y="308"/>
                  </a:lnTo>
                  <a:lnTo>
                    <a:pt x="50" y="280"/>
                  </a:lnTo>
                  <a:lnTo>
                    <a:pt x="50" y="280"/>
                  </a:lnTo>
                  <a:lnTo>
                    <a:pt x="58" y="286"/>
                  </a:lnTo>
                  <a:lnTo>
                    <a:pt x="64" y="292"/>
                  </a:lnTo>
                  <a:lnTo>
                    <a:pt x="66" y="298"/>
                  </a:lnTo>
                  <a:lnTo>
                    <a:pt x="68" y="304"/>
                  </a:lnTo>
                  <a:lnTo>
                    <a:pt x="68" y="30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1" name="Oval 40"/>
          <p:cNvSpPr/>
          <p:nvPr/>
        </p:nvSpPr>
        <p:spPr bwMode="ltGray">
          <a:xfrm>
            <a:off x="304800" y="1219199"/>
            <a:ext cx="2021999" cy="1827807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b="1" dirty="0" smtClean="0">
              <a:solidFill>
                <a:schemeClr val="bg1"/>
              </a:solidFill>
              <a:latin typeface="Georgia" pitchFamily="18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5799" y="2249126"/>
            <a:ext cx="736670" cy="589745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183" y="2234336"/>
            <a:ext cx="728215" cy="718727"/>
          </a:xfrm>
          <a:prstGeom prst="rect">
            <a:avLst/>
          </a:prstGeom>
        </p:spPr>
      </p:pic>
      <p:pic>
        <p:nvPicPr>
          <p:cNvPr id="44" name="Picture 4" descr="Image result for graphhopper logo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66" y="2003613"/>
            <a:ext cx="1555098" cy="247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83" y="1367321"/>
            <a:ext cx="1067752" cy="506068"/>
          </a:xfrm>
          <a:prstGeom prst="rect">
            <a:avLst/>
          </a:prstGeom>
        </p:spPr>
      </p:pic>
      <p:sp>
        <p:nvSpPr>
          <p:cNvPr id="46" name="Oval 45"/>
          <p:cNvSpPr/>
          <p:nvPr/>
        </p:nvSpPr>
        <p:spPr bwMode="ltGray">
          <a:xfrm>
            <a:off x="2890263" y="4087628"/>
            <a:ext cx="631321" cy="631460"/>
          </a:xfrm>
          <a:prstGeom prst="ellipse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49" name="Oval 48"/>
          <p:cNvSpPr/>
          <p:nvPr/>
        </p:nvSpPr>
        <p:spPr bwMode="ltGray">
          <a:xfrm>
            <a:off x="6680009" y="2275168"/>
            <a:ext cx="2021999" cy="1827807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b="1" dirty="0" smtClean="0">
              <a:solidFill>
                <a:schemeClr val="bg1"/>
              </a:solidFill>
              <a:latin typeface="Georgia" pitchFamily="18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793" y="3050201"/>
            <a:ext cx="728215" cy="718727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8246" y="2667954"/>
            <a:ext cx="751092" cy="570217"/>
          </a:xfrm>
          <a:prstGeom prst="rect">
            <a:avLst/>
          </a:prstGeom>
        </p:spPr>
      </p:pic>
      <p:sp>
        <p:nvSpPr>
          <p:cNvPr id="52" name="Oval 51"/>
          <p:cNvSpPr/>
          <p:nvPr/>
        </p:nvSpPr>
        <p:spPr bwMode="ltGray">
          <a:xfrm>
            <a:off x="342120" y="3481140"/>
            <a:ext cx="2021999" cy="1827807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b="1" dirty="0" smtClean="0">
              <a:solidFill>
                <a:schemeClr val="bg1"/>
              </a:solidFill>
              <a:latin typeface="Georgia" pitchFamily="18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192" y="4375887"/>
            <a:ext cx="886817" cy="574236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360" y="4019240"/>
            <a:ext cx="1174318" cy="418865"/>
          </a:xfrm>
          <a:prstGeom prst="rect">
            <a:avLst/>
          </a:prstGeom>
        </p:spPr>
      </p:pic>
      <p:sp>
        <p:nvSpPr>
          <p:cNvPr id="55" name="Oval 54"/>
          <p:cNvSpPr/>
          <p:nvPr/>
        </p:nvSpPr>
        <p:spPr bwMode="ltGray">
          <a:xfrm>
            <a:off x="6680009" y="4673822"/>
            <a:ext cx="2021999" cy="1827807"/>
          </a:xfrm>
          <a:prstGeom prst="ellipse">
            <a:avLst/>
          </a:prstGeom>
          <a:solidFill>
            <a:srgbClr val="EA9416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b="1" dirty="0" smtClean="0">
              <a:solidFill>
                <a:schemeClr val="bg1"/>
              </a:solidFill>
              <a:latin typeface="Georgia" pitchFamily="18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l-PL" sz="2000" b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4148" y="4900542"/>
            <a:ext cx="1067752" cy="506068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65993" y="5436652"/>
            <a:ext cx="1422663" cy="302145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86175" y="5768839"/>
            <a:ext cx="416442" cy="412893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6868" y="5739427"/>
            <a:ext cx="751092" cy="570217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544275" y="2910298"/>
            <a:ext cx="636149" cy="636149"/>
            <a:chOff x="2514600" y="2133600"/>
            <a:chExt cx="1066800" cy="1066800"/>
          </a:xfrm>
        </p:grpSpPr>
        <p:grpSp>
          <p:nvGrpSpPr>
            <p:cNvPr id="67" name="Group 66"/>
            <p:cNvGrpSpPr/>
            <p:nvPr/>
          </p:nvGrpSpPr>
          <p:grpSpPr>
            <a:xfrm>
              <a:off x="2789235" y="2362200"/>
              <a:ext cx="538788" cy="509021"/>
              <a:chOff x="1222315" y="5257800"/>
              <a:chExt cx="704850" cy="647700"/>
            </a:xfrm>
          </p:grpSpPr>
          <p:sp>
            <p:nvSpPr>
              <p:cNvPr id="71" name="Isosceles Triangle 70"/>
              <p:cNvSpPr/>
              <p:nvPr/>
            </p:nvSpPr>
            <p:spPr bwMode="ltGray">
              <a:xfrm>
                <a:off x="1222315" y="5334000"/>
                <a:ext cx="704850" cy="571500"/>
              </a:xfrm>
              <a:prstGeom prst="triangle">
                <a:avLst/>
              </a:prstGeom>
              <a:solidFill>
                <a:schemeClr val="tx2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2" name="Isosceles Triangle 71"/>
              <p:cNvSpPr/>
              <p:nvPr/>
            </p:nvSpPr>
            <p:spPr bwMode="ltGray">
              <a:xfrm>
                <a:off x="1304925" y="5438484"/>
                <a:ext cx="544284" cy="423331"/>
              </a:xfrm>
              <a:prstGeom prst="triangl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 bwMode="ltGray">
              <a:xfrm>
                <a:off x="1479550" y="5445125"/>
                <a:ext cx="196850" cy="152400"/>
              </a:xfrm>
              <a:prstGeom prst="triangle">
                <a:avLst/>
              </a:prstGeom>
              <a:solidFill>
                <a:schemeClr val="bg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4" name="Rectangle 73"/>
              <p:cNvSpPr/>
              <p:nvPr/>
            </p:nvSpPr>
            <p:spPr bwMode="ltGray">
              <a:xfrm>
                <a:off x="1422495" y="5257800"/>
                <a:ext cx="307975" cy="311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5" name="Rectangle 74"/>
              <p:cNvSpPr/>
              <p:nvPr/>
            </p:nvSpPr>
            <p:spPr bwMode="ltGray">
              <a:xfrm>
                <a:off x="1460378" y="5305424"/>
                <a:ext cx="235290" cy="343245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 bwMode="ltGray">
              <a:xfrm>
                <a:off x="1390745" y="5257800"/>
                <a:ext cx="365125" cy="45718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7" name="Oval 76"/>
              <p:cNvSpPr/>
              <p:nvPr/>
            </p:nvSpPr>
            <p:spPr bwMode="ltGray">
              <a:xfrm>
                <a:off x="1501140" y="5463540"/>
                <a:ext cx="45720" cy="45720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 bwMode="ltGray">
              <a:xfrm>
                <a:off x="1524000" y="5522595"/>
                <a:ext cx="76200" cy="76200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9" name="Oval 78"/>
              <p:cNvSpPr/>
              <p:nvPr/>
            </p:nvSpPr>
            <p:spPr bwMode="ltGray">
              <a:xfrm>
                <a:off x="1564005" y="5408930"/>
                <a:ext cx="45720" cy="45720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2514600" y="2133600"/>
              <a:ext cx="1066800" cy="1066800"/>
              <a:chOff x="2514600" y="1981200"/>
              <a:chExt cx="1066800" cy="1066800"/>
            </a:xfrm>
          </p:grpSpPr>
          <p:sp>
            <p:nvSpPr>
              <p:cNvPr id="69" name="Oval 68"/>
              <p:cNvSpPr/>
              <p:nvPr/>
            </p:nvSpPr>
            <p:spPr bwMode="ltGray">
              <a:xfrm>
                <a:off x="2514600" y="1981200"/>
                <a:ext cx="1066800" cy="1066800"/>
              </a:xfrm>
              <a:prstGeom prst="ellipse">
                <a:avLst/>
              </a:prstGeom>
              <a:noFill/>
              <a:ln w="762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 bwMode="ltGray">
              <a:xfrm>
                <a:off x="2579034" y="2041525"/>
                <a:ext cx="945216" cy="945216"/>
              </a:xfrm>
              <a:prstGeom prst="ellipse">
                <a:avLst/>
              </a:prstGeom>
              <a:noFill/>
              <a:ln w="5715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</p:grpSp>
      <p:grpSp>
        <p:nvGrpSpPr>
          <p:cNvPr id="80" name="Group 79"/>
          <p:cNvGrpSpPr/>
          <p:nvPr/>
        </p:nvGrpSpPr>
        <p:grpSpPr>
          <a:xfrm>
            <a:off x="2909075" y="4107468"/>
            <a:ext cx="575150" cy="575150"/>
            <a:chOff x="3276600" y="3048000"/>
            <a:chExt cx="1066800" cy="1066800"/>
          </a:xfrm>
        </p:grpSpPr>
        <p:grpSp>
          <p:nvGrpSpPr>
            <p:cNvPr id="81" name="Group 86"/>
            <p:cNvGrpSpPr/>
            <p:nvPr/>
          </p:nvGrpSpPr>
          <p:grpSpPr>
            <a:xfrm>
              <a:off x="3276600" y="3048000"/>
              <a:ext cx="1066800" cy="1066800"/>
              <a:chOff x="2514600" y="1981200"/>
              <a:chExt cx="1066800" cy="1066800"/>
            </a:xfrm>
          </p:grpSpPr>
          <p:sp>
            <p:nvSpPr>
              <p:cNvPr id="105" name="Oval 104"/>
              <p:cNvSpPr/>
              <p:nvPr/>
            </p:nvSpPr>
            <p:spPr bwMode="ltGray">
              <a:xfrm>
                <a:off x="2514600" y="1981200"/>
                <a:ext cx="1066800" cy="1066800"/>
              </a:xfrm>
              <a:prstGeom prst="ellipse">
                <a:avLst/>
              </a:prstGeom>
              <a:noFill/>
              <a:ln w="76200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6" name="Oval 105"/>
              <p:cNvSpPr/>
              <p:nvPr/>
            </p:nvSpPr>
            <p:spPr bwMode="ltGray">
              <a:xfrm>
                <a:off x="2579034" y="2041525"/>
                <a:ext cx="945216" cy="945216"/>
              </a:xfrm>
              <a:prstGeom prst="ellipse">
                <a:avLst/>
              </a:prstGeom>
              <a:noFill/>
              <a:ln w="57150"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 rot="21312713">
              <a:off x="3441700" y="3416300"/>
              <a:ext cx="457200" cy="453389"/>
              <a:chOff x="2057400" y="4417694"/>
              <a:chExt cx="457200" cy="453389"/>
            </a:xfrm>
          </p:grpSpPr>
          <p:grpSp>
            <p:nvGrpSpPr>
              <p:cNvPr id="93" name="Group 143"/>
              <p:cNvGrpSpPr/>
              <p:nvPr/>
            </p:nvGrpSpPr>
            <p:grpSpPr>
              <a:xfrm>
                <a:off x="2057400" y="4417694"/>
                <a:ext cx="457200" cy="453389"/>
                <a:chOff x="3581392" y="3829422"/>
                <a:chExt cx="972631" cy="964525"/>
              </a:xfrm>
            </p:grpSpPr>
            <p:sp>
              <p:nvSpPr>
                <p:cNvPr id="95" name="Oval 94"/>
                <p:cNvSpPr/>
                <p:nvPr/>
              </p:nvSpPr>
              <p:spPr bwMode="ltGray">
                <a:xfrm>
                  <a:off x="3707602" y="3952267"/>
                  <a:ext cx="722134" cy="722128"/>
                </a:xfrm>
                <a:prstGeom prst="ellipse">
                  <a:avLst/>
                </a:prstGeom>
                <a:solidFill>
                  <a:schemeClr val="accent5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96" name="Rectangle 95"/>
                <p:cNvSpPr/>
                <p:nvPr/>
              </p:nvSpPr>
              <p:spPr bwMode="ltGray">
                <a:xfrm rot="778438">
                  <a:off x="4401623" y="4325423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97" name="Rectangle 96"/>
                <p:cNvSpPr/>
                <p:nvPr/>
              </p:nvSpPr>
              <p:spPr bwMode="ltGray">
                <a:xfrm rot="2896838">
                  <a:off x="4264405" y="4545390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98" name="Rectangle 97"/>
                <p:cNvSpPr/>
                <p:nvPr/>
              </p:nvSpPr>
              <p:spPr bwMode="ltGray">
                <a:xfrm rot="20010557">
                  <a:off x="4375231" y="4055369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99" name="Rectangle 98"/>
                <p:cNvSpPr/>
                <p:nvPr/>
              </p:nvSpPr>
              <p:spPr bwMode="ltGray">
                <a:xfrm rot="17620456">
                  <a:off x="4173885" y="3859561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100" name="Rectangle 99"/>
                <p:cNvSpPr/>
                <p:nvPr/>
              </p:nvSpPr>
              <p:spPr bwMode="ltGray">
                <a:xfrm rot="15262475">
                  <a:off x="3900859" y="3829422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101" name="Rectangle 100"/>
                <p:cNvSpPr/>
                <p:nvPr/>
              </p:nvSpPr>
              <p:spPr bwMode="ltGray">
                <a:xfrm rot="12959914">
                  <a:off x="3661011" y="3989627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102" name="Rectangle 101"/>
                <p:cNvSpPr/>
                <p:nvPr/>
              </p:nvSpPr>
              <p:spPr bwMode="ltGray">
                <a:xfrm rot="10631003">
                  <a:off x="3581392" y="4264095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103" name="Rectangle 102"/>
                <p:cNvSpPr/>
                <p:nvPr/>
              </p:nvSpPr>
              <p:spPr bwMode="ltGray">
                <a:xfrm rot="7942779">
                  <a:off x="3702747" y="4531422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104" name="Rectangle 103"/>
                <p:cNvSpPr/>
                <p:nvPr/>
              </p:nvSpPr>
              <p:spPr bwMode="ltGray">
                <a:xfrm rot="5581488">
                  <a:off x="3978571" y="4641547"/>
                  <a:ext cx="152400" cy="152400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205" dirty="0" err="1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</p:grpSp>
          <p:sp>
            <p:nvSpPr>
              <p:cNvPr id="94" name="Oval 93"/>
              <p:cNvSpPr/>
              <p:nvPr/>
            </p:nvSpPr>
            <p:spPr bwMode="ltGray">
              <a:xfrm>
                <a:off x="2171696" y="4529141"/>
                <a:ext cx="228600" cy="228600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grpSp>
          <p:nvGrpSpPr>
            <p:cNvPr id="83" name="Group 82"/>
            <p:cNvGrpSpPr/>
            <p:nvPr/>
          </p:nvGrpSpPr>
          <p:grpSpPr>
            <a:xfrm rot="21206686">
              <a:off x="3867944" y="3302000"/>
              <a:ext cx="295545" cy="282550"/>
              <a:chOff x="4718844" y="2590800"/>
              <a:chExt cx="295545" cy="282550"/>
            </a:xfrm>
          </p:grpSpPr>
          <p:sp>
            <p:nvSpPr>
              <p:cNvPr id="84" name="Oval 83"/>
              <p:cNvSpPr/>
              <p:nvPr/>
            </p:nvSpPr>
            <p:spPr bwMode="ltGray">
              <a:xfrm>
                <a:off x="4765796" y="2627626"/>
                <a:ext cx="206688" cy="20668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 bwMode="ltGray">
              <a:xfrm rot="20700000">
                <a:off x="4942389" y="2675134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 bwMode="ltGray">
              <a:xfrm rot="17499090">
                <a:off x="4872783" y="2599800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 bwMode="ltGray">
              <a:xfrm rot="13967125">
                <a:off x="4772842" y="2613463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 bwMode="ltGray">
              <a:xfrm rot="11005051">
                <a:off x="4718844" y="2700219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9" name="Rectangle 88"/>
              <p:cNvSpPr/>
              <p:nvPr/>
            </p:nvSpPr>
            <p:spPr bwMode="ltGray">
              <a:xfrm rot="7942779">
                <a:off x="4757299" y="2787936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0" name="Rectangle 89"/>
              <p:cNvSpPr/>
              <p:nvPr/>
            </p:nvSpPr>
            <p:spPr bwMode="ltGray">
              <a:xfrm rot="4685285">
                <a:off x="4850473" y="2810350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1" name="Oval 90"/>
              <p:cNvSpPr/>
              <p:nvPr/>
            </p:nvSpPr>
            <p:spPr bwMode="ltGray">
              <a:xfrm>
                <a:off x="4815185" y="2678319"/>
                <a:ext cx="100013" cy="100013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2" name="Rectangle 91"/>
              <p:cNvSpPr/>
              <p:nvPr/>
            </p:nvSpPr>
            <p:spPr bwMode="ltGray">
              <a:xfrm rot="1800000">
                <a:off x="4927197" y="2764758"/>
                <a:ext cx="72000" cy="54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05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</p:grpSp>
      <p:pic>
        <p:nvPicPr>
          <p:cNvPr id="107" name="Picture 10" descr="C:\Users\004490\Desktop\Icons MS office files\Assorted\Laptop-2\Outline\Laptop-2-outline_0001_maroon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5682" y="1755940"/>
            <a:ext cx="635902" cy="635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35" descr="C:\Users\004490\Desktop\Icons MS office files\Assorted\Pie Chart-2\Outline\Pie-Chart-2-outline_0005_orange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4275" y="5286980"/>
            <a:ext cx="662969" cy="662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658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Środowisko R wykorzystujemy do projektowania sieci logistycznych oraz do analizy scenariuszowej</a:t>
            </a:r>
            <a:endParaRPr lang="pl-PL" dirty="0"/>
          </a:p>
        </p:txBody>
      </p:sp>
      <p:sp>
        <p:nvSpPr>
          <p:cNvPr id="18" name="TextBox 17"/>
          <p:cNvSpPr txBox="1"/>
          <p:nvPr/>
        </p:nvSpPr>
        <p:spPr>
          <a:xfrm>
            <a:off x="511764" y="2127349"/>
            <a:ext cx="2443741" cy="234603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olid"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  <p:txBody>
          <a:bodyPr wrap="square" lIns="36000" tIns="36000" rIns="36000" bIns="36000" rtlCol="0" anchor="t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200" b="1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rzygotowanie danych </a:t>
            </a:r>
            <a:r>
              <a:rPr lang="pl-PL" sz="1200" b="1" i="1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geograifcznych</a:t>
            </a:r>
            <a:endParaRPr lang="en-US" sz="1200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indent="-274320">
              <a:spcAft>
                <a:spcPts val="900"/>
              </a:spcAft>
            </a:pPr>
            <a:r>
              <a:rPr lang="pl-PL" sz="1200" dirty="0" smtClean="0">
                <a:solidFill>
                  <a:schemeClr val="bg2"/>
                </a:solidFill>
              </a:rPr>
              <a:t>Opis modelowanego obszaru poprzez wyznaczenie macierzy odległości między wszystkimi elementami sieci</a:t>
            </a:r>
            <a:endParaRPr lang="en-US" sz="1200" i="1" dirty="0" smtClean="0">
              <a:solidFill>
                <a:schemeClr val="bg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44788" y="2127349"/>
            <a:ext cx="2459541" cy="234603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wrap="square" lIns="36000" tIns="36000" rIns="36000" bIns="36000" rtlCol="0" anchor="t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200" b="1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odanie przepływów</a:t>
            </a:r>
            <a:endParaRPr lang="en-US" sz="1200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indent="-274320">
              <a:spcAft>
                <a:spcPts val="900"/>
              </a:spcAft>
            </a:pPr>
            <a:r>
              <a:rPr lang="pl-PL" sz="1200" dirty="0" smtClean="0">
                <a:solidFill>
                  <a:srgbClr val="FFFFFF"/>
                </a:solidFill>
              </a:rPr>
              <a:t/>
            </a:r>
            <a:br>
              <a:rPr lang="pl-PL" sz="1200" dirty="0" smtClean="0">
                <a:solidFill>
                  <a:srgbClr val="FFFFFF"/>
                </a:solidFill>
              </a:rPr>
            </a:br>
            <a:r>
              <a:rPr lang="pl-PL" sz="1200" dirty="0" smtClean="0">
                <a:solidFill>
                  <a:srgbClr val="FFFFFF"/>
                </a:solidFill>
              </a:rPr>
              <a:t>Stworzenie macierzy przepływów pomiędzy poszczególnymi elementami sieci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11764" y="4655764"/>
            <a:ext cx="2443741" cy="152091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wrap="square" lIns="36000" tIns="36000" rIns="36000" bIns="36000" rtlCol="0" anchor="t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200" b="1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nalityczny opis problemu</a:t>
            </a:r>
            <a:endParaRPr lang="en-US" sz="1200" b="1" i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indent="-274320">
              <a:spcAft>
                <a:spcPts val="900"/>
              </a:spcAft>
            </a:pPr>
            <a:r>
              <a:rPr lang="pl-PL" sz="1200" dirty="0" smtClean="0">
                <a:solidFill>
                  <a:srgbClr val="FFFFFF"/>
                </a:solidFill>
              </a:rPr>
              <a:t>Przedstawienie problemu optymalizacyjnego w postaci równań programowania liniowego, minimalizując założoną funkcję celu przy określonych ograniczeniach</a:t>
            </a:r>
            <a:endParaRPr lang="en-US" sz="1200" dirty="0" smtClean="0">
              <a:solidFill>
                <a:srgbClr val="FFFFFF"/>
              </a:solidFill>
            </a:endParaRPr>
          </a:p>
          <a:p>
            <a:pPr indent="-274320">
              <a:spcAft>
                <a:spcPts val="900"/>
              </a:spcAft>
            </a:pPr>
            <a:endParaRPr lang="en-US" sz="1200" i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044788" y="4655765"/>
            <a:ext cx="2459541" cy="1520916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wrap="square" lIns="36000" tIns="36000" rIns="36000" bIns="36000" rtlCol="0" anchor="t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200" b="1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ozwiązanie modelu</a:t>
            </a:r>
            <a:endParaRPr lang="en-US" sz="1200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indent="-274320">
              <a:spcAft>
                <a:spcPts val="900"/>
              </a:spcAft>
            </a:pPr>
            <a:r>
              <a:rPr lang="pl-PL" sz="1200" dirty="0" smtClean="0">
                <a:solidFill>
                  <a:srgbClr val="FFFFFF"/>
                </a:solidFill>
              </a:rPr>
              <a:t>Znalezienie optymalnych </a:t>
            </a:r>
            <a:br>
              <a:rPr lang="pl-PL" sz="1200" dirty="0" smtClean="0">
                <a:solidFill>
                  <a:srgbClr val="FFFFFF"/>
                </a:solidFill>
              </a:rPr>
            </a:br>
            <a:r>
              <a:rPr lang="pl-PL" sz="1200" dirty="0" smtClean="0">
                <a:solidFill>
                  <a:srgbClr val="FFFFFF"/>
                </a:solidFill>
              </a:rPr>
              <a:t>lokalizacji nadrzędnych elementów sieci / podziału sieci na obszary koncentracji</a:t>
            </a:r>
            <a:endParaRPr lang="en-US" sz="1200" dirty="0">
              <a:solidFill>
                <a:srgbClr val="FFFFFF"/>
              </a:solidFill>
            </a:endParaRPr>
          </a:p>
          <a:p>
            <a:pPr indent="-274320">
              <a:spcAft>
                <a:spcPts val="900"/>
              </a:spcAft>
            </a:pPr>
            <a:endParaRPr lang="en-US" sz="1200" dirty="0" smtClean="0"/>
          </a:p>
          <a:p>
            <a:pPr indent="-274320">
              <a:spcAft>
                <a:spcPts val="900"/>
              </a:spcAft>
            </a:pPr>
            <a:r>
              <a:rPr lang="en-US" sz="1200" dirty="0" smtClean="0"/>
              <a:t>	</a:t>
            </a:r>
            <a:endParaRPr lang="en-US" sz="1200" i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1505682"/>
              </p:ext>
            </p:extLst>
          </p:nvPr>
        </p:nvGraphicFramePr>
        <p:xfrm>
          <a:off x="589852" y="3507508"/>
          <a:ext cx="2287590" cy="889460"/>
        </p:xfrm>
        <a:graphic>
          <a:graphicData uri="http://schemas.openxmlformats.org/drawingml/2006/table">
            <a:tbl>
              <a:tblPr/>
              <a:tblGrid>
                <a:gridCol w="4575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75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75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75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75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km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1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175"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min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7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660" marR="4660" marT="466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366161"/>
              </p:ext>
            </p:extLst>
          </p:nvPr>
        </p:nvGraphicFramePr>
        <p:xfrm>
          <a:off x="3122907" y="3507508"/>
          <a:ext cx="2287535" cy="907742"/>
        </p:xfrm>
        <a:graphic>
          <a:graphicData uri="http://schemas.openxmlformats.org/drawingml/2006/table">
            <a:tbl>
              <a:tblPr/>
              <a:tblGrid>
                <a:gridCol w="457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75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75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75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75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IN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4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5482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720" marR="4720" marT="47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720" marR="4720" marT="47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720" marR="4720" marT="47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720" marR="4720" marT="47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720" marR="4720" marT="47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OUT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B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854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D</a:t>
                      </a:r>
                      <a:endParaRPr lang="en-US" sz="500" b="1" i="1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x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7" name="Oval 46"/>
          <p:cNvSpPr/>
          <p:nvPr/>
        </p:nvSpPr>
        <p:spPr bwMode="ltGray">
          <a:xfrm>
            <a:off x="2566436" y="2158947"/>
            <a:ext cx="322200" cy="3222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Oval 47"/>
          <p:cNvSpPr/>
          <p:nvPr/>
        </p:nvSpPr>
        <p:spPr bwMode="ltGray">
          <a:xfrm>
            <a:off x="5099436" y="2189183"/>
            <a:ext cx="322200" cy="3222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Oval 48"/>
          <p:cNvSpPr/>
          <p:nvPr/>
        </p:nvSpPr>
        <p:spPr bwMode="ltGray">
          <a:xfrm>
            <a:off x="2562563" y="4706225"/>
            <a:ext cx="322200" cy="3222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0" name="Oval 49"/>
          <p:cNvSpPr/>
          <p:nvPr/>
        </p:nvSpPr>
        <p:spPr bwMode="ltGray">
          <a:xfrm>
            <a:off x="5099436" y="4706225"/>
            <a:ext cx="322200" cy="3222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1763" y="1568824"/>
            <a:ext cx="5566307" cy="277905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400" b="1" i="1" dirty="0" smtClean="0">
                <a:solidFill>
                  <a:srgbClr val="FFFFFF"/>
                </a:solidFill>
                <a:latin typeface="Georgia" pitchFamily="18" charset="0"/>
              </a:rPr>
              <a:t>Projektowanie sieci logistycznej dzielimy na kilka etapów:</a:t>
            </a:r>
          </a:p>
        </p:txBody>
      </p:sp>
      <p:pic>
        <p:nvPicPr>
          <p:cNvPr id="51" name="1CC337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7894" r="10001"/>
          <a:stretch/>
        </p:blipFill>
        <p:spPr>
          <a:xfrm>
            <a:off x="5856204" y="2656267"/>
            <a:ext cx="2956131" cy="2376525"/>
          </a:xfrm>
          <a:prstGeom prst="roundRect">
            <a:avLst>
              <a:gd name="adj" fmla="val 5979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/>
          <p:cNvSpPr txBox="1"/>
          <p:nvPr/>
        </p:nvSpPr>
        <p:spPr>
          <a:xfrm>
            <a:off x="5856204" y="2127349"/>
            <a:ext cx="2956131" cy="353798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400" i="1" dirty="0" smtClean="0">
                <a:solidFill>
                  <a:srgbClr val="FFFFFF"/>
                </a:solidFill>
                <a:latin typeface="Georgia" pitchFamily="18" charset="0"/>
              </a:rPr>
              <a:t>Wyznaczanie optymalnego podziału na obszary koncentracji:</a:t>
            </a:r>
          </a:p>
        </p:txBody>
      </p:sp>
    </p:spTree>
    <p:extLst>
      <p:ext uri="{BB962C8B-B14F-4D97-AF65-F5344CB8AC3E}">
        <p14:creationId xmlns:p14="http://schemas.microsoft.com/office/powerpoint/2010/main" val="126180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1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1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Analiza scenariuszowa pozwala na wyznaczenie najbardziej efektywnej kosztowo postaci sieci</a:t>
            </a:r>
            <a:endParaRPr lang="pl-PL" dirty="0"/>
          </a:p>
        </p:txBody>
      </p:sp>
      <p:grpSp>
        <p:nvGrpSpPr>
          <p:cNvPr id="51" name="Group 50"/>
          <p:cNvGrpSpPr/>
          <p:nvPr/>
        </p:nvGrpSpPr>
        <p:grpSpPr>
          <a:xfrm>
            <a:off x="1008530" y="1733742"/>
            <a:ext cx="3001906" cy="2724618"/>
            <a:chOff x="-1772639" y="1366298"/>
            <a:chExt cx="3001906" cy="2724618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52" name="Picture 51"/>
            <p:cNvPicPr>
              <a:picLocks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772639" y="1366298"/>
              <a:ext cx="3001906" cy="2724618"/>
            </a:xfrm>
            <a:prstGeom prst="rect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</p:pic>
        <p:cxnSp>
          <p:nvCxnSpPr>
            <p:cNvPr id="53" name="Straight Connector 52"/>
            <p:cNvCxnSpPr>
              <a:endCxn id="100" idx="0"/>
            </p:cNvCxnSpPr>
            <p:nvPr/>
          </p:nvCxnSpPr>
          <p:spPr>
            <a:xfrm flipH="1">
              <a:off x="-284979" y="2009628"/>
              <a:ext cx="13293" cy="77558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>
              <a:endCxn id="100" idx="0"/>
            </p:cNvCxnSpPr>
            <p:nvPr/>
          </p:nvCxnSpPr>
          <p:spPr>
            <a:xfrm flipH="1">
              <a:off x="-284979" y="2785212"/>
              <a:ext cx="75011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endCxn id="100" idx="0"/>
            </p:cNvCxnSpPr>
            <p:nvPr/>
          </p:nvCxnSpPr>
          <p:spPr>
            <a:xfrm flipH="1">
              <a:off x="-284979" y="2492113"/>
              <a:ext cx="134389" cy="29309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>
              <a:endCxn id="100" idx="7"/>
            </p:cNvCxnSpPr>
            <p:nvPr/>
          </p:nvCxnSpPr>
          <p:spPr>
            <a:xfrm flipH="1">
              <a:off x="-203787" y="1922592"/>
              <a:ext cx="278726" cy="89506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endCxn id="100" idx="7"/>
            </p:cNvCxnSpPr>
            <p:nvPr/>
          </p:nvCxnSpPr>
          <p:spPr>
            <a:xfrm flipH="1">
              <a:off x="-203787" y="1888534"/>
              <a:ext cx="790580" cy="92912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>
              <a:endCxn id="100" idx="6"/>
            </p:cNvCxnSpPr>
            <p:nvPr/>
          </p:nvCxnSpPr>
          <p:spPr>
            <a:xfrm flipH="1">
              <a:off x="-170157" y="2688544"/>
              <a:ext cx="319619" cy="20744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endCxn id="100" idx="0"/>
            </p:cNvCxnSpPr>
            <p:nvPr/>
          </p:nvCxnSpPr>
          <p:spPr>
            <a:xfrm flipH="1">
              <a:off x="-284979" y="2616991"/>
              <a:ext cx="501118" cy="16822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>
              <a:endCxn id="102" idx="2"/>
            </p:cNvCxnSpPr>
            <p:nvPr/>
          </p:nvCxnSpPr>
          <p:spPr>
            <a:xfrm flipH="1">
              <a:off x="-245386" y="2616991"/>
              <a:ext cx="506631" cy="38812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>
              <a:endCxn id="100" idx="0"/>
            </p:cNvCxnSpPr>
            <p:nvPr/>
          </p:nvCxnSpPr>
          <p:spPr>
            <a:xfrm flipH="1">
              <a:off x="-284979" y="2492113"/>
              <a:ext cx="697231" cy="29309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>
              <a:endCxn id="100" idx="6"/>
            </p:cNvCxnSpPr>
            <p:nvPr/>
          </p:nvCxnSpPr>
          <p:spPr>
            <a:xfrm flipH="1">
              <a:off x="-170157" y="2187939"/>
              <a:ext cx="990322" cy="70805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>
              <a:endCxn id="100" idx="5"/>
            </p:cNvCxnSpPr>
            <p:nvPr/>
          </p:nvCxnSpPr>
          <p:spPr>
            <a:xfrm flipH="1" flipV="1">
              <a:off x="-203787" y="2974327"/>
              <a:ext cx="465032" cy="3078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endCxn id="100" idx="6"/>
            </p:cNvCxnSpPr>
            <p:nvPr/>
          </p:nvCxnSpPr>
          <p:spPr>
            <a:xfrm flipH="1" flipV="1">
              <a:off x="-170157" y="2895993"/>
              <a:ext cx="892266" cy="167533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flipH="1" flipV="1">
              <a:off x="-278333" y="2785212"/>
              <a:ext cx="1235776" cy="304803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endCxn id="102" idx="2"/>
            </p:cNvCxnSpPr>
            <p:nvPr/>
          </p:nvCxnSpPr>
          <p:spPr>
            <a:xfrm flipH="1" flipV="1">
              <a:off x="-245386" y="3005113"/>
              <a:ext cx="373275" cy="23059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endCxn id="100" idx="5"/>
            </p:cNvCxnSpPr>
            <p:nvPr/>
          </p:nvCxnSpPr>
          <p:spPr>
            <a:xfrm flipH="1" flipV="1">
              <a:off x="-203787" y="2974327"/>
              <a:ext cx="702329" cy="33696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>
              <a:endCxn id="100" idx="4"/>
            </p:cNvCxnSpPr>
            <p:nvPr/>
          </p:nvCxnSpPr>
          <p:spPr>
            <a:xfrm flipH="1" flipV="1">
              <a:off x="-284979" y="3006773"/>
              <a:ext cx="830588" cy="58903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flipH="1" flipV="1">
              <a:off x="-170157" y="2895993"/>
              <a:ext cx="941294" cy="69981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 flipV="1">
              <a:off x="-288799" y="3006773"/>
              <a:ext cx="504939" cy="58903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flipH="1" flipV="1">
              <a:off x="-203787" y="2974327"/>
              <a:ext cx="373351" cy="82229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>
              <a:endCxn id="100" idx="4"/>
            </p:cNvCxnSpPr>
            <p:nvPr/>
          </p:nvCxnSpPr>
          <p:spPr>
            <a:xfrm flipH="1" flipV="1">
              <a:off x="-284979" y="3006773"/>
              <a:ext cx="226231" cy="61160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>
              <a:endCxn id="100" idx="5"/>
            </p:cNvCxnSpPr>
            <p:nvPr/>
          </p:nvCxnSpPr>
          <p:spPr>
            <a:xfrm flipH="1" flipV="1">
              <a:off x="-203787" y="2974327"/>
              <a:ext cx="186675" cy="66048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>
              <a:endCxn id="100" idx="4"/>
            </p:cNvCxnSpPr>
            <p:nvPr/>
          </p:nvCxnSpPr>
          <p:spPr>
            <a:xfrm flipH="1" flipV="1">
              <a:off x="-284979" y="3006773"/>
              <a:ext cx="75011" cy="62803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>
              <a:endCxn id="100" idx="4"/>
            </p:cNvCxnSpPr>
            <p:nvPr/>
          </p:nvCxnSpPr>
          <p:spPr>
            <a:xfrm flipV="1">
              <a:off x="-316495" y="3006773"/>
              <a:ext cx="31516" cy="25542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endCxn id="100" idx="4"/>
            </p:cNvCxnSpPr>
            <p:nvPr/>
          </p:nvCxnSpPr>
          <p:spPr>
            <a:xfrm flipV="1">
              <a:off x="-284979" y="3006773"/>
              <a:ext cx="0" cy="482473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>
              <a:endCxn id="100" idx="5"/>
            </p:cNvCxnSpPr>
            <p:nvPr/>
          </p:nvCxnSpPr>
          <p:spPr>
            <a:xfrm flipV="1">
              <a:off x="-331257" y="2974327"/>
              <a:ext cx="127470" cy="73771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>
              <a:endCxn id="100" idx="3"/>
            </p:cNvCxnSpPr>
            <p:nvPr/>
          </p:nvCxnSpPr>
          <p:spPr>
            <a:xfrm flipH="1" flipV="1">
              <a:off x="-366171" y="2974327"/>
              <a:ext cx="25965" cy="53904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>
              <a:endCxn id="100" idx="3"/>
            </p:cNvCxnSpPr>
            <p:nvPr/>
          </p:nvCxnSpPr>
          <p:spPr>
            <a:xfrm flipV="1">
              <a:off x="-414361" y="2974327"/>
              <a:ext cx="48189" cy="51492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>
              <a:endCxn id="100" idx="3"/>
            </p:cNvCxnSpPr>
            <p:nvPr/>
          </p:nvCxnSpPr>
          <p:spPr>
            <a:xfrm flipV="1">
              <a:off x="-492315" y="2974327"/>
              <a:ext cx="126145" cy="61141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>
              <a:endCxn id="100" idx="2"/>
            </p:cNvCxnSpPr>
            <p:nvPr/>
          </p:nvCxnSpPr>
          <p:spPr>
            <a:xfrm flipV="1">
              <a:off x="-665875" y="2895993"/>
              <a:ext cx="266073" cy="42479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>
              <a:endCxn id="100" idx="2"/>
            </p:cNvCxnSpPr>
            <p:nvPr/>
          </p:nvCxnSpPr>
          <p:spPr>
            <a:xfrm>
              <a:off x="-682054" y="2891717"/>
              <a:ext cx="282252" cy="427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>
              <a:endCxn id="100" idx="2"/>
            </p:cNvCxnSpPr>
            <p:nvPr/>
          </p:nvCxnSpPr>
          <p:spPr>
            <a:xfrm flipV="1">
              <a:off x="-890913" y="2895993"/>
              <a:ext cx="491111" cy="24681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endCxn id="100" idx="3"/>
            </p:cNvCxnSpPr>
            <p:nvPr/>
          </p:nvCxnSpPr>
          <p:spPr>
            <a:xfrm flipV="1">
              <a:off x="-961513" y="2974327"/>
              <a:ext cx="595343" cy="14608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endCxn id="100" idx="3"/>
            </p:cNvCxnSpPr>
            <p:nvPr/>
          </p:nvCxnSpPr>
          <p:spPr>
            <a:xfrm flipV="1">
              <a:off x="-1038314" y="2974327"/>
              <a:ext cx="672143" cy="33024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>
              <a:off x="-1038314" y="2792268"/>
              <a:ext cx="638512" cy="10372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>
              <a:endCxn id="100" idx="2"/>
            </p:cNvCxnSpPr>
            <p:nvPr/>
          </p:nvCxnSpPr>
          <p:spPr>
            <a:xfrm flipV="1">
              <a:off x="-1152723" y="2895993"/>
              <a:ext cx="752922" cy="10912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>
              <a:endCxn id="100" idx="3"/>
            </p:cNvCxnSpPr>
            <p:nvPr/>
          </p:nvCxnSpPr>
          <p:spPr>
            <a:xfrm flipV="1">
              <a:off x="-1355699" y="2974327"/>
              <a:ext cx="989528" cy="22543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>
              <a:endCxn id="100" idx="1"/>
            </p:cNvCxnSpPr>
            <p:nvPr/>
          </p:nvCxnSpPr>
          <p:spPr>
            <a:xfrm>
              <a:off x="-1355699" y="2738961"/>
              <a:ext cx="989528" cy="7869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>
              <a:endCxn id="100" idx="1"/>
            </p:cNvCxnSpPr>
            <p:nvPr/>
          </p:nvCxnSpPr>
          <p:spPr>
            <a:xfrm>
              <a:off x="-552620" y="2638662"/>
              <a:ext cx="186450" cy="17899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>
              <a:endCxn id="100" idx="1"/>
            </p:cNvCxnSpPr>
            <p:nvPr/>
          </p:nvCxnSpPr>
          <p:spPr>
            <a:xfrm>
              <a:off x="-992307" y="2573946"/>
              <a:ext cx="626137" cy="24371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>
              <a:endCxn id="100" idx="0"/>
            </p:cNvCxnSpPr>
            <p:nvPr/>
          </p:nvCxnSpPr>
          <p:spPr>
            <a:xfrm>
              <a:off x="-926213" y="2541966"/>
              <a:ext cx="641234" cy="24324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>
              <a:endCxn id="100" idx="1"/>
            </p:cNvCxnSpPr>
            <p:nvPr/>
          </p:nvCxnSpPr>
          <p:spPr>
            <a:xfrm>
              <a:off x="-1588092" y="2048889"/>
              <a:ext cx="1221922" cy="76877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endCxn id="100" idx="0"/>
            </p:cNvCxnSpPr>
            <p:nvPr/>
          </p:nvCxnSpPr>
          <p:spPr>
            <a:xfrm>
              <a:off x="-443777" y="2397421"/>
              <a:ext cx="158798" cy="38779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endCxn id="100" idx="0"/>
            </p:cNvCxnSpPr>
            <p:nvPr/>
          </p:nvCxnSpPr>
          <p:spPr>
            <a:xfrm>
              <a:off x="-1239503" y="1906981"/>
              <a:ext cx="954524" cy="87823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endCxn id="100" idx="0"/>
            </p:cNvCxnSpPr>
            <p:nvPr/>
          </p:nvCxnSpPr>
          <p:spPr>
            <a:xfrm>
              <a:off x="-459395" y="1718246"/>
              <a:ext cx="174416" cy="106696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endCxn id="100" idx="1"/>
            </p:cNvCxnSpPr>
            <p:nvPr/>
          </p:nvCxnSpPr>
          <p:spPr>
            <a:xfrm>
              <a:off x="-605596" y="2226274"/>
              <a:ext cx="239426" cy="59138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endCxn id="100" idx="0"/>
            </p:cNvCxnSpPr>
            <p:nvPr/>
          </p:nvCxnSpPr>
          <p:spPr>
            <a:xfrm>
              <a:off x="-459395" y="1633101"/>
              <a:ext cx="174416" cy="115211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9" name="Group 98"/>
            <p:cNvGrpSpPr/>
            <p:nvPr/>
          </p:nvGrpSpPr>
          <p:grpSpPr>
            <a:xfrm>
              <a:off x="-399801" y="2785212"/>
              <a:ext cx="229644" cy="221562"/>
              <a:chOff x="1580534" y="3404127"/>
              <a:chExt cx="371788" cy="371788"/>
            </a:xfrm>
          </p:grpSpPr>
          <p:sp>
            <p:nvSpPr>
              <p:cNvPr id="100" name="Oval 99"/>
              <p:cNvSpPr/>
              <p:nvPr/>
            </p:nvSpPr>
            <p:spPr bwMode="ltGray">
              <a:xfrm>
                <a:off x="1580534" y="3404127"/>
                <a:ext cx="371788" cy="371788"/>
              </a:xfrm>
              <a:prstGeom prst="ellipse">
                <a:avLst/>
              </a:prstGeom>
              <a:solidFill>
                <a:schemeClr val="tx2"/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01" name="Group 100"/>
              <p:cNvGrpSpPr/>
              <p:nvPr/>
            </p:nvGrpSpPr>
            <p:grpSpPr>
              <a:xfrm>
                <a:off x="1607962" y="3497505"/>
                <a:ext cx="244708" cy="170894"/>
                <a:chOff x="-2300288" y="1609725"/>
                <a:chExt cx="1836738" cy="1282701"/>
              </a:xfrm>
              <a:solidFill>
                <a:schemeClr val="bg1"/>
              </a:solidFill>
            </p:grpSpPr>
            <p:sp>
              <p:nvSpPr>
                <p:cNvPr id="103" name="Freeform 71"/>
                <p:cNvSpPr>
                  <a:spLocks/>
                </p:cNvSpPr>
                <p:nvPr/>
              </p:nvSpPr>
              <p:spPr bwMode="auto">
                <a:xfrm>
                  <a:off x="-1493838" y="1663700"/>
                  <a:ext cx="823913" cy="209550"/>
                </a:xfrm>
                <a:custGeom>
                  <a:avLst/>
                  <a:gdLst>
                    <a:gd name="T0" fmla="*/ 0 w 1555"/>
                    <a:gd name="T1" fmla="*/ 0 h 397"/>
                    <a:gd name="T2" fmla="*/ 1555 w 1555"/>
                    <a:gd name="T3" fmla="*/ 32 h 397"/>
                    <a:gd name="T4" fmla="*/ 1176 w 1555"/>
                    <a:gd name="T5" fmla="*/ 397 h 397"/>
                    <a:gd name="T6" fmla="*/ 687 w 1555"/>
                    <a:gd name="T7" fmla="*/ 85 h 397"/>
                    <a:gd name="T8" fmla="*/ 0 w 1555"/>
                    <a:gd name="T9" fmla="*/ 0 h 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55" h="397">
                      <a:moveTo>
                        <a:pt x="0" y="0"/>
                      </a:moveTo>
                      <a:lnTo>
                        <a:pt x="1555" y="32"/>
                      </a:lnTo>
                      <a:lnTo>
                        <a:pt x="1176" y="397"/>
                      </a:lnTo>
                      <a:lnTo>
                        <a:pt x="687" y="8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" name="Freeform 72"/>
                <p:cNvSpPr>
                  <a:spLocks/>
                </p:cNvSpPr>
                <p:nvPr/>
              </p:nvSpPr>
              <p:spPr bwMode="auto">
                <a:xfrm>
                  <a:off x="-2189163" y="1609725"/>
                  <a:ext cx="1031875" cy="395288"/>
                </a:xfrm>
                <a:custGeom>
                  <a:avLst/>
                  <a:gdLst>
                    <a:gd name="T0" fmla="*/ 390 w 1950"/>
                    <a:gd name="T1" fmla="*/ 0 h 747"/>
                    <a:gd name="T2" fmla="*/ 1950 w 1950"/>
                    <a:gd name="T3" fmla="*/ 214 h 747"/>
                    <a:gd name="T4" fmla="*/ 1570 w 1950"/>
                    <a:gd name="T5" fmla="*/ 747 h 747"/>
                    <a:gd name="T6" fmla="*/ 0 w 1950"/>
                    <a:gd name="T7" fmla="*/ 329 h 747"/>
                    <a:gd name="T8" fmla="*/ 390 w 1950"/>
                    <a:gd name="T9" fmla="*/ 0 h 7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50" h="747">
                      <a:moveTo>
                        <a:pt x="390" y="0"/>
                      </a:moveTo>
                      <a:lnTo>
                        <a:pt x="1950" y="214"/>
                      </a:lnTo>
                      <a:lnTo>
                        <a:pt x="1570" y="747"/>
                      </a:lnTo>
                      <a:lnTo>
                        <a:pt x="0" y="329"/>
                      </a:lnTo>
                      <a:lnTo>
                        <a:pt x="39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73"/>
                <p:cNvSpPr>
                  <a:spLocks noEditPoints="1"/>
                </p:cNvSpPr>
                <p:nvPr/>
              </p:nvSpPr>
              <p:spPr bwMode="auto">
                <a:xfrm>
                  <a:off x="-1338263" y="1681163"/>
                  <a:ext cx="806450" cy="1016000"/>
                </a:xfrm>
                <a:custGeom>
                  <a:avLst/>
                  <a:gdLst>
                    <a:gd name="T0" fmla="*/ 735 w 1526"/>
                    <a:gd name="T1" fmla="*/ 1201 h 1921"/>
                    <a:gd name="T2" fmla="*/ 185 w 1526"/>
                    <a:gd name="T3" fmla="*/ 1451 h 1921"/>
                    <a:gd name="T4" fmla="*/ 185 w 1526"/>
                    <a:gd name="T5" fmla="*/ 1523 h 1921"/>
                    <a:gd name="T6" fmla="*/ 735 w 1526"/>
                    <a:gd name="T7" fmla="*/ 1265 h 1921"/>
                    <a:gd name="T8" fmla="*/ 735 w 1526"/>
                    <a:gd name="T9" fmla="*/ 1201 h 1921"/>
                    <a:gd name="T10" fmla="*/ 735 w 1526"/>
                    <a:gd name="T11" fmla="*/ 1103 h 1921"/>
                    <a:gd name="T12" fmla="*/ 185 w 1526"/>
                    <a:gd name="T13" fmla="*/ 1340 h 1921"/>
                    <a:gd name="T14" fmla="*/ 185 w 1526"/>
                    <a:gd name="T15" fmla="*/ 1413 h 1921"/>
                    <a:gd name="T16" fmla="*/ 735 w 1526"/>
                    <a:gd name="T17" fmla="*/ 1167 h 1921"/>
                    <a:gd name="T18" fmla="*/ 735 w 1526"/>
                    <a:gd name="T19" fmla="*/ 1103 h 1921"/>
                    <a:gd name="T20" fmla="*/ 735 w 1526"/>
                    <a:gd name="T21" fmla="*/ 999 h 1921"/>
                    <a:gd name="T22" fmla="*/ 185 w 1526"/>
                    <a:gd name="T23" fmla="*/ 1225 h 1921"/>
                    <a:gd name="T24" fmla="*/ 185 w 1526"/>
                    <a:gd name="T25" fmla="*/ 1296 h 1921"/>
                    <a:gd name="T26" fmla="*/ 735 w 1526"/>
                    <a:gd name="T27" fmla="*/ 1063 h 1921"/>
                    <a:gd name="T28" fmla="*/ 735 w 1526"/>
                    <a:gd name="T29" fmla="*/ 999 h 1921"/>
                    <a:gd name="T30" fmla="*/ 1420 w 1526"/>
                    <a:gd name="T31" fmla="*/ 898 h 1921"/>
                    <a:gd name="T32" fmla="*/ 1037 w 1526"/>
                    <a:gd name="T33" fmla="*/ 1073 h 1921"/>
                    <a:gd name="T34" fmla="*/ 1037 w 1526"/>
                    <a:gd name="T35" fmla="*/ 1132 h 1921"/>
                    <a:gd name="T36" fmla="*/ 1420 w 1526"/>
                    <a:gd name="T37" fmla="*/ 952 h 1921"/>
                    <a:gd name="T38" fmla="*/ 1420 w 1526"/>
                    <a:gd name="T39" fmla="*/ 898 h 1921"/>
                    <a:gd name="T40" fmla="*/ 735 w 1526"/>
                    <a:gd name="T41" fmla="*/ 889 h 1921"/>
                    <a:gd name="T42" fmla="*/ 185 w 1526"/>
                    <a:gd name="T43" fmla="*/ 1100 h 1921"/>
                    <a:gd name="T44" fmla="*/ 185 w 1526"/>
                    <a:gd name="T45" fmla="*/ 1172 h 1921"/>
                    <a:gd name="T46" fmla="*/ 735 w 1526"/>
                    <a:gd name="T47" fmla="*/ 953 h 1921"/>
                    <a:gd name="T48" fmla="*/ 735 w 1526"/>
                    <a:gd name="T49" fmla="*/ 889 h 1921"/>
                    <a:gd name="T50" fmla="*/ 1420 w 1526"/>
                    <a:gd name="T51" fmla="*/ 815 h 1921"/>
                    <a:gd name="T52" fmla="*/ 1037 w 1526"/>
                    <a:gd name="T53" fmla="*/ 981 h 1921"/>
                    <a:gd name="T54" fmla="*/ 1037 w 1526"/>
                    <a:gd name="T55" fmla="*/ 1041 h 1921"/>
                    <a:gd name="T56" fmla="*/ 1420 w 1526"/>
                    <a:gd name="T57" fmla="*/ 869 h 1921"/>
                    <a:gd name="T58" fmla="*/ 1420 w 1526"/>
                    <a:gd name="T59" fmla="*/ 815 h 1921"/>
                    <a:gd name="T60" fmla="*/ 1420 w 1526"/>
                    <a:gd name="T61" fmla="*/ 729 h 1921"/>
                    <a:gd name="T62" fmla="*/ 1037 w 1526"/>
                    <a:gd name="T63" fmla="*/ 885 h 1921"/>
                    <a:gd name="T64" fmla="*/ 1037 w 1526"/>
                    <a:gd name="T65" fmla="*/ 945 h 1921"/>
                    <a:gd name="T66" fmla="*/ 1420 w 1526"/>
                    <a:gd name="T67" fmla="*/ 782 h 1921"/>
                    <a:gd name="T68" fmla="*/ 1420 w 1526"/>
                    <a:gd name="T69" fmla="*/ 729 h 1921"/>
                    <a:gd name="T70" fmla="*/ 1420 w 1526"/>
                    <a:gd name="T71" fmla="*/ 636 h 1921"/>
                    <a:gd name="T72" fmla="*/ 1037 w 1526"/>
                    <a:gd name="T73" fmla="*/ 782 h 1921"/>
                    <a:gd name="T74" fmla="*/ 1037 w 1526"/>
                    <a:gd name="T75" fmla="*/ 842 h 1921"/>
                    <a:gd name="T76" fmla="*/ 1420 w 1526"/>
                    <a:gd name="T77" fmla="*/ 689 h 1921"/>
                    <a:gd name="T78" fmla="*/ 1420 w 1526"/>
                    <a:gd name="T79" fmla="*/ 636 h 1921"/>
                    <a:gd name="T80" fmla="*/ 1303 w 1526"/>
                    <a:gd name="T81" fmla="*/ 0 h 1921"/>
                    <a:gd name="T82" fmla="*/ 1526 w 1526"/>
                    <a:gd name="T83" fmla="*/ 230 h 1921"/>
                    <a:gd name="T84" fmla="*/ 1526 w 1526"/>
                    <a:gd name="T85" fmla="*/ 1125 h 1921"/>
                    <a:gd name="T86" fmla="*/ 0 w 1526"/>
                    <a:gd name="T87" fmla="*/ 1921 h 1921"/>
                    <a:gd name="T88" fmla="*/ 0 w 1526"/>
                    <a:gd name="T89" fmla="*/ 654 h 1921"/>
                    <a:gd name="T90" fmla="*/ 389 w 1526"/>
                    <a:gd name="T91" fmla="*/ 92 h 1921"/>
                    <a:gd name="T92" fmla="*/ 890 w 1526"/>
                    <a:gd name="T93" fmla="*/ 408 h 1921"/>
                    <a:gd name="T94" fmla="*/ 1303 w 1526"/>
                    <a:gd name="T95" fmla="*/ 0 h 19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526" h="1921">
                      <a:moveTo>
                        <a:pt x="735" y="1201"/>
                      </a:moveTo>
                      <a:lnTo>
                        <a:pt x="185" y="1451"/>
                      </a:lnTo>
                      <a:lnTo>
                        <a:pt x="185" y="1523"/>
                      </a:lnTo>
                      <a:lnTo>
                        <a:pt x="735" y="1265"/>
                      </a:lnTo>
                      <a:lnTo>
                        <a:pt x="735" y="1201"/>
                      </a:lnTo>
                      <a:close/>
                      <a:moveTo>
                        <a:pt x="735" y="1103"/>
                      </a:moveTo>
                      <a:lnTo>
                        <a:pt x="185" y="1340"/>
                      </a:lnTo>
                      <a:lnTo>
                        <a:pt x="185" y="1413"/>
                      </a:lnTo>
                      <a:lnTo>
                        <a:pt x="735" y="1167"/>
                      </a:lnTo>
                      <a:lnTo>
                        <a:pt x="735" y="1103"/>
                      </a:lnTo>
                      <a:close/>
                      <a:moveTo>
                        <a:pt x="735" y="999"/>
                      </a:moveTo>
                      <a:lnTo>
                        <a:pt x="185" y="1225"/>
                      </a:lnTo>
                      <a:lnTo>
                        <a:pt x="185" y="1296"/>
                      </a:lnTo>
                      <a:lnTo>
                        <a:pt x="735" y="1063"/>
                      </a:lnTo>
                      <a:lnTo>
                        <a:pt x="735" y="999"/>
                      </a:lnTo>
                      <a:close/>
                      <a:moveTo>
                        <a:pt x="1420" y="898"/>
                      </a:moveTo>
                      <a:lnTo>
                        <a:pt x="1037" y="1073"/>
                      </a:lnTo>
                      <a:lnTo>
                        <a:pt x="1037" y="1132"/>
                      </a:lnTo>
                      <a:lnTo>
                        <a:pt x="1420" y="952"/>
                      </a:lnTo>
                      <a:lnTo>
                        <a:pt x="1420" y="898"/>
                      </a:lnTo>
                      <a:close/>
                      <a:moveTo>
                        <a:pt x="735" y="889"/>
                      </a:moveTo>
                      <a:lnTo>
                        <a:pt x="185" y="1100"/>
                      </a:lnTo>
                      <a:lnTo>
                        <a:pt x="185" y="1172"/>
                      </a:lnTo>
                      <a:lnTo>
                        <a:pt x="735" y="953"/>
                      </a:lnTo>
                      <a:lnTo>
                        <a:pt x="735" y="889"/>
                      </a:lnTo>
                      <a:close/>
                      <a:moveTo>
                        <a:pt x="1420" y="815"/>
                      </a:moveTo>
                      <a:lnTo>
                        <a:pt x="1037" y="981"/>
                      </a:lnTo>
                      <a:lnTo>
                        <a:pt x="1037" y="1041"/>
                      </a:lnTo>
                      <a:lnTo>
                        <a:pt x="1420" y="869"/>
                      </a:lnTo>
                      <a:lnTo>
                        <a:pt x="1420" y="815"/>
                      </a:lnTo>
                      <a:close/>
                      <a:moveTo>
                        <a:pt x="1420" y="729"/>
                      </a:moveTo>
                      <a:lnTo>
                        <a:pt x="1037" y="885"/>
                      </a:lnTo>
                      <a:lnTo>
                        <a:pt x="1037" y="945"/>
                      </a:lnTo>
                      <a:lnTo>
                        <a:pt x="1420" y="782"/>
                      </a:lnTo>
                      <a:lnTo>
                        <a:pt x="1420" y="729"/>
                      </a:lnTo>
                      <a:close/>
                      <a:moveTo>
                        <a:pt x="1420" y="636"/>
                      </a:moveTo>
                      <a:lnTo>
                        <a:pt x="1037" y="782"/>
                      </a:lnTo>
                      <a:lnTo>
                        <a:pt x="1037" y="842"/>
                      </a:lnTo>
                      <a:lnTo>
                        <a:pt x="1420" y="689"/>
                      </a:lnTo>
                      <a:lnTo>
                        <a:pt x="1420" y="636"/>
                      </a:lnTo>
                      <a:close/>
                      <a:moveTo>
                        <a:pt x="1303" y="0"/>
                      </a:moveTo>
                      <a:lnTo>
                        <a:pt x="1526" y="230"/>
                      </a:lnTo>
                      <a:lnTo>
                        <a:pt x="1526" y="1125"/>
                      </a:lnTo>
                      <a:lnTo>
                        <a:pt x="0" y="1921"/>
                      </a:lnTo>
                      <a:lnTo>
                        <a:pt x="0" y="654"/>
                      </a:lnTo>
                      <a:lnTo>
                        <a:pt x="389" y="92"/>
                      </a:lnTo>
                      <a:lnTo>
                        <a:pt x="890" y="408"/>
                      </a:lnTo>
                      <a:lnTo>
                        <a:pt x="1303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" name="Freeform 74"/>
                <p:cNvSpPr>
                  <a:spLocks noEditPoints="1"/>
                </p:cNvSpPr>
                <p:nvPr/>
              </p:nvSpPr>
              <p:spPr bwMode="auto">
                <a:xfrm>
                  <a:off x="-2193924" y="1804987"/>
                  <a:ext cx="823916" cy="890589"/>
                </a:xfrm>
                <a:custGeom>
                  <a:avLst/>
                  <a:gdLst>
                    <a:gd name="T0" fmla="*/ 1188 w 1558"/>
                    <a:gd name="T1" fmla="*/ 446 h 1683"/>
                    <a:gd name="T2" fmla="*/ 1188 w 1558"/>
                    <a:gd name="T3" fmla="*/ 745 h 1683"/>
                    <a:gd name="T4" fmla="*/ 1470 w 1558"/>
                    <a:gd name="T5" fmla="*/ 847 h 1683"/>
                    <a:gd name="T6" fmla="*/ 1470 w 1558"/>
                    <a:gd name="T7" fmla="*/ 530 h 1683"/>
                    <a:gd name="T8" fmla="*/ 1188 w 1558"/>
                    <a:gd name="T9" fmla="*/ 446 h 1683"/>
                    <a:gd name="T10" fmla="*/ 849 w 1558"/>
                    <a:gd name="T11" fmla="*/ 352 h 1683"/>
                    <a:gd name="T12" fmla="*/ 849 w 1558"/>
                    <a:gd name="T13" fmla="*/ 628 h 1683"/>
                    <a:gd name="T14" fmla="*/ 1090 w 1558"/>
                    <a:gd name="T15" fmla="*/ 716 h 1683"/>
                    <a:gd name="T16" fmla="*/ 1090 w 1558"/>
                    <a:gd name="T17" fmla="*/ 423 h 1683"/>
                    <a:gd name="T18" fmla="*/ 849 w 1558"/>
                    <a:gd name="T19" fmla="*/ 352 h 1683"/>
                    <a:gd name="T20" fmla="*/ 553 w 1558"/>
                    <a:gd name="T21" fmla="*/ 262 h 1683"/>
                    <a:gd name="T22" fmla="*/ 553 w 1558"/>
                    <a:gd name="T23" fmla="*/ 521 h 1683"/>
                    <a:gd name="T24" fmla="*/ 763 w 1558"/>
                    <a:gd name="T25" fmla="*/ 596 h 1683"/>
                    <a:gd name="T26" fmla="*/ 763 w 1558"/>
                    <a:gd name="T27" fmla="*/ 325 h 1683"/>
                    <a:gd name="T28" fmla="*/ 553 w 1558"/>
                    <a:gd name="T29" fmla="*/ 262 h 1683"/>
                    <a:gd name="T30" fmla="*/ 297 w 1558"/>
                    <a:gd name="T31" fmla="*/ 190 h 1683"/>
                    <a:gd name="T32" fmla="*/ 297 w 1558"/>
                    <a:gd name="T33" fmla="*/ 432 h 1683"/>
                    <a:gd name="T34" fmla="*/ 481 w 1558"/>
                    <a:gd name="T35" fmla="*/ 498 h 1683"/>
                    <a:gd name="T36" fmla="*/ 481 w 1558"/>
                    <a:gd name="T37" fmla="*/ 245 h 1683"/>
                    <a:gd name="T38" fmla="*/ 297 w 1558"/>
                    <a:gd name="T39" fmla="*/ 190 h 1683"/>
                    <a:gd name="T40" fmla="*/ 64 w 1558"/>
                    <a:gd name="T41" fmla="*/ 116 h 1683"/>
                    <a:gd name="T42" fmla="*/ 64 w 1558"/>
                    <a:gd name="T43" fmla="*/ 344 h 1683"/>
                    <a:gd name="T44" fmla="*/ 225 w 1558"/>
                    <a:gd name="T45" fmla="*/ 402 h 1683"/>
                    <a:gd name="T46" fmla="*/ 225 w 1558"/>
                    <a:gd name="T47" fmla="*/ 165 h 1683"/>
                    <a:gd name="T48" fmla="*/ 64 w 1558"/>
                    <a:gd name="T49" fmla="*/ 116 h 1683"/>
                    <a:gd name="T50" fmla="*/ 0 w 1558"/>
                    <a:gd name="T51" fmla="*/ 0 h 1683"/>
                    <a:gd name="T52" fmla="*/ 1558 w 1558"/>
                    <a:gd name="T53" fmla="*/ 421 h 1683"/>
                    <a:gd name="T54" fmla="*/ 1558 w 1558"/>
                    <a:gd name="T55" fmla="*/ 1683 h 1683"/>
                    <a:gd name="T56" fmla="*/ 0 w 1558"/>
                    <a:gd name="T57" fmla="*/ 884 h 1683"/>
                    <a:gd name="T58" fmla="*/ 0 w 1558"/>
                    <a:gd name="T59" fmla="*/ 0 h 16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558" h="1683">
                      <a:moveTo>
                        <a:pt x="1188" y="446"/>
                      </a:moveTo>
                      <a:lnTo>
                        <a:pt x="1188" y="745"/>
                      </a:lnTo>
                      <a:lnTo>
                        <a:pt x="1470" y="847"/>
                      </a:lnTo>
                      <a:lnTo>
                        <a:pt x="1470" y="530"/>
                      </a:lnTo>
                      <a:lnTo>
                        <a:pt x="1188" y="446"/>
                      </a:lnTo>
                      <a:close/>
                      <a:moveTo>
                        <a:pt x="849" y="352"/>
                      </a:moveTo>
                      <a:lnTo>
                        <a:pt x="849" y="628"/>
                      </a:lnTo>
                      <a:lnTo>
                        <a:pt x="1090" y="716"/>
                      </a:lnTo>
                      <a:lnTo>
                        <a:pt x="1090" y="423"/>
                      </a:lnTo>
                      <a:lnTo>
                        <a:pt x="849" y="352"/>
                      </a:lnTo>
                      <a:close/>
                      <a:moveTo>
                        <a:pt x="553" y="262"/>
                      </a:moveTo>
                      <a:lnTo>
                        <a:pt x="553" y="521"/>
                      </a:lnTo>
                      <a:lnTo>
                        <a:pt x="763" y="596"/>
                      </a:lnTo>
                      <a:lnTo>
                        <a:pt x="763" y="325"/>
                      </a:lnTo>
                      <a:lnTo>
                        <a:pt x="553" y="262"/>
                      </a:lnTo>
                      <a:close/>
                      <a:moveTo>
                        <a:pt x="297" y="190"/>
                      </a:moveTo>
                      <a:lnTo>
                        <a:pt x="297" y="432"/>
                      </a:lnTo>
                      <a:lnTo>
                        <a:pt x="481" y="498"/>
                      </a:lnTo>
                      <a:lnTo>
                        <a:pt x="481" y="245"/>
                      </a:lnTo>
                      <a:lnTo>
                        <a:pt x="297" y="190"/>
                      </a:lnTo>
                      <a:close/>
                      <a:moveTo>
                        <a:pt x="64" y="116"/>
                      </a:moveTo>
                      <a:lnTo>
                        <a:pt x="64" y="344"/>
                      </a:lnTo>
                      <a:lnTo>
                        <a:pt x="225" y="402"/>
                      </a:lnTo>
                      <a:lnTo>
                        <a:pt x="225" y="165"/>
                      </a:lnTo>
                      <a:lnTo>
                        <a:pt x="64" y="116"/>
                      </a:lnTo>
                      <a:close/>
                      <a:moveTo>
                        <a:pt x="0" y="0"/>
                      </a:moveTo>
                      <a:lnTo>
                        <a:pt x="1558" y="421"/>
                      </a:lnTo>
                      <a:lnTo>
                        <a:pt x="1558" y="1683"/>
                      </a:lnTo>
                      <a:lnTo>
                        <a:pt x="0" y="88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" name="Freeform 75"/>
                <p:cNvSpPr>
                  <a:spLocks/>
                </p:cNvSpPr>
                <p:nvPr/>
              </p:nvSpPr>
              <p:spPr bwMode="auto">
                <a:xfrm>
                  <a:off x="-2300288" y="2239963"/>
                  <a:ext cx="1836738" cy="652463"/>
                </a:xfrm>
                <a:custGeom>
                  <a:avLst/>
                  <a:gdLst>
                    <a:gd name="T0" fmla="*/ 0 w 3471"/>
                    <a:gd name="T1" fmla="*/ 0 h 1232"/>
                    <a:gd name="T2" fmla="*/ 1782 w 3471"/>
                    <a:gd name="T3" fmla="*/ 954 h 1232"/>
                    <a:gd name="T4" fmla="*/ 3471 w 3471"/>
                    <a:gd name="T5" fmla="*/ 50 h 1232"/>
                    <a:gd name="T6" fmla="*/ 3471 w 3471"/>
                    <a:gd name="T7" fmla="*/ 237 h 1232"/>
                    <a:gd name="T8" fmla="*/ 1786 w 3471"/>
                    <a:gd name="T9" fmla="*/ 1230 h 1232"/>
                    <a:gd name="T10" fmla="*/ 1786 w 3471"/>
                    <a:gd name="T11" fmla="*/ 1232 h 1232"/>
                    <a:gd name="T12" fmla="*/ 1784 w 3471"/>
                    <a:gd name="T13" fmla="*/ 1231 h 1232"/>
                    <a:gd name="T14" fmla="*/ 1782 w 3471"/>
                    <a:gd name="T15" fmla="*/ 1231 h 1232"/>
                    <a:gd name="T16" fmla="*/ 1782 w 3471"/>
                    <a:gd name="T17" fmla="*/ 1230 h 1232"/>
                    <a:gd name="T18" fmla="*/ 0 w 3471"/>
                    <a:gd name="T19" fmla="*/ 179 h 1232"/>
                    <a:gd name="T20" fmla="*/ 0 w 3471"/>
                    <a:gd name="T21" fmla="*/ 0 h 1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471" h="1232">
                      <a:moveTo>
                        <a:pt x="0" y="0"/>
                      </a:moveTo>
                      <a:lnTo>
                        <a:pt x="1782" y="954"/>
                      </a:lnTo>
                      <a:lnTo>
                        <a:pt x="3471" y="50"/>
                      </a:lnTo>
                      <a:lnTo>
                        <a:pt x="3471" y="237"/>
                      </a:lnTo>
                      <a:lnTo>
                        <a:pt x="1786" y="1230"/>
                      </a:lnTo>
                      <a:lnTo>
                        <a:pt x="1786" y="1232"/>
                      </a:lnTo>
                      <a:lnTo>
                        <a:pt x="1784" y="1231"/>
                      </a:lnTo>
                      <a:lnTo>
                        <a:pt x="1782" y="1231"/>
                      </a:lnTo>
                      <a:lnTo>
                        <a:pt x="1782" y="1230"/>
                      </a:lnTo>
                      <a:lnTo>
                        <a:pt x="0" y="17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02" name="TextBox 101"/>
              <p:cNvSpPr txBox="1"/>
              <p:nvPr/>
            </p:nvSpPr>
            <p:spPr>
              <a:xfrm>
                <a:off x="1773188" y="3475101"/>
                <a:ext cx="114681" cy="298027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65000"/>
                  </a:schemeClr>
                </a:solidFill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indent="-274320">
                  <a:spcAft>
                    <a:spcPts val="900"/>
                  </a:spcAft>
                </a:pPr>
                <a:r>
                  <a:rPr lang="en-US" b="1" dirty="0" smtClean="0">
                    <a:ln w="3175">
                      <a:solidFill>
                        <a:schemeClr val="tx2"/>
                      </a:solidFill>
                    </a:ln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pic>
        <p:nvPicPr>
          <p:cNvPr id="109" name="Picture 108"/>
          <p:cNvPicPr>
            <a:picLocks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5688" y="1733742"/>
            <a:ext cx="2793191" cy="2680175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</p:spPr>
      </p:pic>
      <p:grpSp>
        <p:nvGrpSpPr>
          <p:cNvPr id="110" name="Group 109"/>
          <p:cNvGrpSpPr/>
          <p:nvPr/>
        </p:nvGrpSpPr>
        <p:grpSpPr>
          <a:xfrm>
            <a:off x="6082054" y="3030891"/>
            <a:ext cx="213678" cy="217948"/>
            <a:chOff x="1580534" y="3404127"/>
            <a:chExt cx="371788" cy="371788"/>
          </a:xfrm>
        </p:grpSpPr>
        <p:sp>
          <p:nvSpPr>
            <p:cNvPr id="111" name="Oval 110"/>
            <p:cNvSpPr/>
            <p:nvPr/>
          </p:nvSpPr>
          <p:spPr bwMode="ltGray">
            <a:xfrm>
              <a:off x="1580534" y="3404127"/>
              <a:ext cx="371788" cy="371788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07962" y="3497505"/>
              <a:ext cx="244708" cy="170894"/>
              <a:chOff x="-2300288" y="1609725"/>
              <a:chExt cx="1836738" cy="1282701"/>
            </a:xfrm>
            <a:solidFill>
              <a:schemeClr val="bg1"/>
            </a:solidFill>
          </p:grpSpPr>
          <p:sp>
            <p:nvSpPr>
              <p:cNvPr id="114" name="Freeform 71"/>
              <p:cNvSpPr>
                <a:spLocks/>
              </p:cNvSpPr>
              <p:nvPr/>
            </p:nvSpPr>
            <p:spPr bwMode="auto">
              <a:xfrm>
                <a:off x="-1493838" y="1663700"/>
                <a:ext cx="823913" cy="209550"/>
              </a:xfrm>
              <a:custGeom>
                <a:avLst/>
                <a:gdLst>
                  <a:gd name="T0" fmla="*/ 0 w 1555"/>
                  <a:gd name="T1" fmla="*/ 0 h 397"/>
                  <a:gd name="T2" fmla="*/ 1555 w 1555"/>
                  <a:gd name="T3" fmla="*/ 32 h 397"/>
                  <a:gd name="T4" fmla="*/ 1176 w 1555"/>
                  <a:gd name="T5" fmla="*/ 397 h 397"/>
                  <a:gd name="T6" fmla="*/ 687 w 1555"/>
                  <a:gd name="T7" fmla="*/ 85 h 397"/>
                  <a:gd name="T8" fmla="*/ 0 w 1555"/>
                  <a:gd name="T9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5" h="397">
                    <a:moveTo>
                      <a:pt x="0" y="0"/>
                    </a:moveTo>
                    <a:lnTo>
                      <a:pt x="1555" y="32"/>
                    </a:lnTo>
                    <a:lnTo>
                      <a:pt x="1176" y="397"/>
                    </a:lnTo>
                    <a:lnTo>
                      <a:pt x="687" y="8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72"/>
              <p:cNvSpPr>
                <a:spLocks/>
              </p:cNvSpPr>
              <p:nvPr/>
            </p:nvSpPr>
            <p:spPr bwMode="auto">
              <a:xfrm>
                <a:off x="-2189163" y="1609725"/>
                <a:ext cx="1031875" cy="395288"/>
              </a:xfrm>
              <a:custGeom>
                <a:avLst/>
                <a:gdLst>
                  <a:gd name="T0" fmla="*/ 390 w 1950"/>
                  <a:gd name="T1" fmla="*/ 0 h 747"/>
                  <a:gd name="T2" fmla="*/ 1950 w 1950"/>
                  <a:gd name="T3" fmla="*/ 214 h 747"/>
                  <a:gd name="T4" fmla="*/ 1570 w 1950"/>
                  <a:gd name="T5" fmla="*/ 747 h 747"/>
                  <a:gd name="T6" fmla="*/ 0 w 1950"/>
                  <a:gd name="T7" fmla="*/ 329 h 747"/>
                  <a:gd name="T8" fmla="*/ 390 w 1950"/>
                  <a:gd name="T9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0" h="747">
                    <a:moveTo>
                      <a:pt x="390" y="0"/>
                    </a:moveTo>
                    <a:lnTo>
                      <a:pt x="1950" y="214"/>
                    </a:lnTo>
                    <a:lnTo>
                      <a:pt x="1570" y="747"/>
                    </a:lnTo>
                    <a:lnTo>
                      <a:pt x="0" y="329"/>
                    </a:lnTo>
                    <a:lnTo>
                      <a:pt x="39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73"/>
              <p:cNvSpPr>
                <a:spLocks noEditPoints="1"/>
              </p:cNvSpPr>
              <p:nvPr/>
            </p:nvSpPr>
            <p:spPr bwMode="auto">
              <a:xfrm>
                <a:off x="-1338263" y="1681163"/>
                <a:ext cx="806450" cy="1016000"/>
              </a:xfrm>
              <a:custGeom>
                <a:avLst/>
                <a:gdLst>
                  <a:gd name="T0" fmla="*/ 735 w 1526"/>
                  <a:gd name="T1" fmla="*/ 1201 h 1921"/>
                  <a:gd name="T2" fmla="*/ 185 w 1526"/>
                  <a:gd name="T3" fmla="*/ 1451 h 1921"/>
                  <a:gd name="T4" fmla="*/ 185 w 1526"/>
                  <a:gd name="T5" fmla="*/ 1523 h 1921"/>
                  <a:gd name="T6" fmla="*/ 735 w 1526"/>
                  <a:gd name="T7" fmla="*/ 1265 h 1921"/>
                  <a:gd name="T8" fmla="*/ 735 w 1526"/>
                  <a:gd name="T9" fmla="*/ 1201 h 1921"/>
                  <a:gd name="T10" fmla="*/ 735 w 1526"/>
                  <a:gd name="T11" fmla="*/ 1103 h 1921"/>
                  <a:gd name="T12" fmla="*/ 185 w 1526"/>
                  <a:gd name="T13" fmla="*/ 1340 h 1921"/>
                  <a:gd name="T14" fmla="*/ 185 w 1526"/>
                  <a:gd name="T15" fmla="*/ 1413 h 1921"/>
                  <a:gd name="T16" fmla="*/ 735 w 1526"/>
                  <a:gd name="T17" fmla="*/ 1167 h 1921"/>
                  <a:gd name="T18" fmla="*/ 735 w 1526"/>
                  <a:gd name="T19" fmla="*/ 1103 h 1921"/>
                  <a:gd name="T20" fmla="*/ 735 w 1526"/>
                  <a:gd name="T21" fmla="*/ 999 h 1921"/>
                  <a:gd name="T22" fmla="*/ 185 w 1526"/>
                  <a:gd name="T23" fmla="*/ 1225 h 1921"/>
                  <a:gd name="T24" fmla="*/ 185 w 1526"/>
                  <a:gd name="T25" fmla="*/ 1296 h 1921"/>
                  <a:gd name="T26" fmla="*/ 735 w 1526"/>
                  <a:gd name="T27" fmla="*/ 1063 h 1921"/>
                  <a:gd name="T28" fmla="*/ 735 w 1526"/>
                  <a:gd name="T29" fmla="*/ 999 h 1921"/>
                  <a:gd name="T30" fmla="*/ 1420 w 1526"/>
                  <a:gd name="T31" fmla="*/ 898 h 1921"/>
                  <a:gd name="T32" fmla="*/ 1037 w 1526"/>
                  <a:gd name="T33" fmla="*/ 1073 h 1921"/>
                  <a:gd name="T34" fmla="*/ 1037 w 1526"/>
                  <a:gd name="T35" fmla="*/ 1132 h 1921"/>
                  <a:gd name="T36" fmla="*/ 1420 w 1526"/>
                  <a:gd name="T37" fmla="*/ 952 h 1921"/>
                  <a:gd name="T38" fmla="*/ 1420 w 1526"/>
                  <a:gd name="T39" fmla="*/ 898 h 1921"/>
                  <a:gd name="T40" fmla="*/ 735 w 1526"/>
                  <a:gd name="T41" fmla="*/ 889 h 1921"/>
                  <a:gd name="T42" fmla="*/ 185 w 1526"/>
                  <a:gd name="T43" fmla="*/ 1100 h 1921"/>
                  <a:gd name="T44" fmla="*/ 185 w 1526"/>
                  <a:gd name="T45" fmla="*/ 1172 h 1921"/>
                  <a:gd name="T46" fmla="*/ 735 w 1526"/>
                  <a:gd name="T47" fmla="*/ 953 h 1921"/>
                  <a:gd name="T48" fmla="*/ 735 w 1526"/>
                  <a:gd name="T49" fmla="*/ 889 h 1921"/>
                  <a:gd name="T50" fmla="*/ 1420 w 1526"/>
                  <a:gd name="T51" fmla="*/ 815 h 1921"/>
                  <a:gd name="T52" fmla="*/ 1037 w 1526"/>
                  <a:gd name="T53" fmla="*/ 981 h 1921"/>
                  <a:gd name="T54" fmla="*/ 1037 w 1526"/>
                  <a:gd name="T55" fmla="*/ 1041 h 1921"/>
                  <a:gd name="T56" fmla="*/ 1420 w 1526"/>
                  <a:gd name="T57" fmla="*/ 869 h 1921"/>
                  <a:gd name="T58" fmla="*/ 1420 w 1526"/>
                  <a:gd name="T59" fmla="*/ 815 h 1921"/>
                  <a:gd name="T60" fmla="*/ 1420 w 1526"/>
                  <a:gd name="T61" fmla="*/ 729 h 1921"/>
                  <a:gd name="T62" fmla="*/ 1037 w 1526"/>
                  <a:gd name="T63" fmla="*/ 885 h 1921"/>
                  <a:gd name="T64" fmla="*/ 1037 w 1526"/>
                  <a:gd name="T65" fmla="*/ 945 h 1921"/>
                  <a:gd name="T66" fmla="*/ 1420 w 1526"/>
                  <a:gd name="T67" fmla="*/ 782 h 1921"/>
                  <a:gd name="T68" fmla="*/ 1420 w 1526"/>
                  <a:gd name="T69" fmla="*/ 729 h 1921"/>
                  <a:gd name="T70" fmla="*/ 1420 w 1526"/>
                  <a:gd name="T71" fmla="*/ 636 h 1921"/>
                  <a:gd name="T72" fmla="*/ 1037 w 1526"/>
                  <a:gd name="T73" fmla="*/ 782 h 1921"/>
                  <a:gd name="T74" fmla="*/ 1037 w 1526"/>
                  <a:gd name="T75" fmla="*/ 842 h 1921"/>
                  <a:gd name="T76" fmla="*/ 1420 w 1526"/>
                  <a:gd name="T77" fmla="*/ 689 h 1921"/>
                  <a:gd name="T78" fmla="*/ 1420 w 1526"/>
                  <a:gd name="T79" fmla="*/ 636 h 1921"/>
                  <a:gd name="T80" fmla="*/ 1303 w 1526"/>
                  <a:gd name="T81" fmla="*/ 0 h 1921"/>
                  <a:gd name="T82" fmla="*/ 1526 w 1526"/>
                  <a:gd name="T83" fmla="*/ 230 h 1921"/>
                  <a:gd name="T84" fmla="*/ 1526 w 1526"/>
                  <a:gd name="T85" fmla="*/ 1125 h 1921"/>
                  <a:gd name="T86" fmla="*/ 0 w 1526"/>
                  <a:gd name="T87" fmla="*/ 1921 h 1921"/>
                  <a:gd name="T88" fmla="*/ 0 w 1526"/>
                  <a:gd name="T89" fmla="*/ 654 h 1921"/>
                  <a:gd name="T90" fmla="*/ 389 w 1526"/>
                  <a:gd name="T91" fmla="*/ 92 h 1921"/>
                  <a:gd name="T92" fmla="*/ 890 w 1526"/>
                  <a:gd name="T93" fmla="*/ 408 h 1921"/>
                  <a:gd name="T94" fmla="*/ 1303 w 1526"/>
                  <a:gd name="T95" fmla="*/ 0 h 1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26" h="1921">
                    <a:moveTo>
                      <a:pt x="735" y="1201"/>
                    </a:moveTo>
                    <a:lnTo>
                      <a:pt x="185" y="1451"/>
                    </a:lnTo>
                    <a:lnTo>
                      <a:pt x="185" y="1523"/>
                    </a:lnTo>
                    <a:lnTo>
                      <a:pt x="735" y="1265"/>
                    </a:lnTo>
                    <a:lnTo>
                      <a:pt x="735" y="1201"/>
                    </a:lnTo>
                    <a:close/>
                    <a:moveTo>
                      <a:pt x="735" y="1103"/>
                    </a:moveTo>
                    <a:lnTo>
                      <a:pt x="185" y="1340"/>
                    </a:lnTo>
                    <a:lnTo>
                      <a:pt x="185" y="1413"/>
                    </a:lnTo>
                    <a:lnTo>
                      <a:pt x="735" y="1167"/>
                    </a:lnTo>
                    <a:lnTo>
                      <a:pt x="735" y="1103"/>
                    </a:lnTo>
                    <a:close/>
                    <a:moveTo>
                      <a:pt x="735" y="999"/>
                    </a:moveTo>
                    <a:lnTo>
                      <a:pt x="185" y="1225"/>
                    </a:lnTo>
                    <a:lnTo>
                      <a:pt x="185" y="1296"/>
                    </a:lnTo>
                    <a:lnTo>
                      <a:pt x="735" y="1063"/>
                    </a:lnTo>
                    <a:lnTo>
                      <a:pt x="735" y="999"/>
                    </a:lnTo>
                    <a:close/>
                    <a:moveTo>
                      <a:pt x="1420" y="898"/>
                    </a:moveTo>
                    <a:lnTo>
                      <a:pt x="1037" y="1073"/>
                    </a:lnTo>
                    <a:lnTo>
                      <a:pt x="1037" y="1132"/>
                    </a:lnTo>
                    <a:lnTo>
                      <a:pt x="1420" y="952"/>
                    </a:lnTo>
                    <a:lnTo>
                      <a:pt x="1420" y="898"/>
                    </a:lnTo>
                    <a:close/>
                    <a:moveTo>
                      <a:pt x="735" y="889"/>
                    </a:moveTo>
                    <a:lnTo>
                      <a:pt x="185" y="1100"/>
                    </a:lnTo>
                    <a:lnTo>
                      <a:pt x="185" y="1172"/>
                    </a:lnTo>
                    <a:lnTo>
                      <a:pt x="735" y="953"/>
                    </a:lnTo>
                    <a:lnTo>
                      <a:pt x="735" y="889"/>
                    </a:lnTo>
                    <a:close/>
                    <a:moveTo>
                      <a:pt x="1420" y="815"/>
                    </a:moveTo>
                    <a:lnTo>
                      <a:pt x="1037" y="981"/>
                    </a:lnTo>
                    <a:lnTo>
                      <a:pt x="1037" y="1041"/>
                    </a:lnTo>
                    <a:lnTo>
                      <a:pt x="1420" y="869"/>
                    </a:lnTo>
                    <a:lnTo>
                      <a:pt x="1420" y="815"/>
                    </a:lnTo>
                    <a:close/>
                    <a:moveTo>
                      <a:pt x="1420" y="729"/>
                    </a:moveTo>
                    <a:lnTo>
                      <a:pt x="1037" y="885"/>
                    </a:lnTo>
                    <a:lnTo>
                      <a:pt x="1037" y="945"/>
                    </a:lnTo>
                    <a:lnTo>
                      <a:pt x="1420" y="782"/>
                    </a:lnTo>
                    <a:lnTo>
                      <a:pt x="1420" y="729"/>
                    </a:lnTo>
                    <a:close/>
                    <a:moveTo>
                      <a:pt x="1420" y="636"/>
                    </a:moveTo>
                    <a:lnTo>
                      <a:pt x="1037" y="782"/>
                    </a:lnTo>
                    <a:lnTo>
                      <a:pt x="1037" y="842"/>
                    </a:lnTo>
                    <a:lnTo>
                      <a:pt x="1420" y="689"/>
                    </a:lnTo>
                    <a:lnTo>
                      <a:pt x="1420" y="636"/>
                    </a:lnTo>
                    <a:close/>
                    <a:moveTo>
                      <a:pt x="1303" y="0"/>
                    </a:moveTo>
                    <a:lnTo>
                      <a:pt x="1526" y="230"/>
                    </a:lnTo>
                    <a:lnTo>
                      <a:pt x="1526" y="1125"/>
                    </a:lnTo>
                    <a:lnTo>
                      <a:pt x="0" y="1921"/>
                    </a:lnTo>
                    <a:lnTo>
                      <a:pt x="0" y="654"/>
                    </a:lnTo>
                    <a:lnTo>
                      <a:pt x="389" y="92"/>
                    </a:lnTo>
                    <a:lnTo>
                      <a:pt x="890" y="408"/>
                    </a:lnTo>
                    <a:lnTo>
                      <a:pt x="13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74"/>
              <p:cNvSpPr>
                <a:spLocks noEditPoints="1"/>
              </p:cNvSpPr>
              <p:nvPr/>
            </p:nvSpPr>
            <p:spPr bwMode="auto">
              <a:xfrm>
                <a:off x="-2193924" y="1804987"/>
                <a:ext cx="823916" cy="890589"/>
              </a:xfrm>
              <a:custGeom>
                <a:avLst/>
                <a:gdLst>
                  <a:gd name="T0" fmla="*/ 1188 w 1558"/>
                  <a:gd name="T1" fmla="*/ 446 h 1683"/>
                  <a:gd name="T2" fmla="*/ 1188 w 1558"/>
                  <a:gd name="T3" fmla="*/ 745 h 1683"/>
                  <a:gd name="T4" fmla="*/ 1470 w 1558"/>
                  <a:gd name="T5" fmla="*/ 847 h 1683"/>
                  <a:gd name="T6" fmla="*/ 1470 w 1558"/>
                  <a:gd name="T7" fmla="*/ 530 h 1683"/>
                  <a:gd name="T8" fmla="*/ 1188 w 1558"/>
                  <a:gd name="T9" fmla="*/ 446 h 1683"/>
                  <a:gd name="T10" fmla="*/ 849 w 1558"/>
                  <a:gd name="T11" fmla="*/ 352 h 1683"/>
                  <a:gd name="T12" fmla="*/ 849 w 1558"/>
                  <a:gd name="T13" fmla="*/ 628 h 1683"/>
                  <a:gd name="T14" fmla="*/ 1090 w 1558"/>
                  <a:gd name="T15" fmla="*/ 716 h 1683"/>
                  <a:gd name="T16" fmla="*/ 1090 w 1558"/>
                  <a:gd name="T17" fmla="*/ 423 h 1683"/>
                  <a:gd name="T18" fmla="*/ 849 w 1558"/>
                  <a:gd name="T19" fmla="*/ 352 h 1683"/>
                  <a:gd name="T20" fmla="*/ 553 w 1558"/>
                  <a:gd name="T21" fmla="*/ 262 h 1683"/>
                  <a:gd name="T22" fmla="*/ 553 w 1558"/>
                  <a:gd name="T23" fmla="*/ 521 h 1683"/>
                  <a:gd name="T24" fmla="*/ 763 w 1558"/>
                  <a:gd name="T25" fmla="*/ 596 h 1683"/>
                  <a:gd name="T26" fmla="*/ 763 w 1558"/>
                  <a:gd name="T27" fmla="*/ 325 h 1683"/>
                  <a:gd name="T28" fmla="*/ 553 w 1558"/>
                  <a:gd name="T29" fmla="*/ 262 h 1683"/>
                  <a:gd name="T30" fmla="*/ 297 w 1558"/>
                  <a:gd name="T31" fmla="*/ 190 h 1683"/>
                  <a:gd name="T32" fmla="*/ 297 w 1558"/>
                  <a:gd name="T33" fmla="*/ 432 h 1683"/>
                  <a:gd name="T34" fmla="*/ 481 w 1558"/>
                  <a:gd name="T35" fmla="*/ 498 h 1683"/>
                  <a:gd name="T36" fmla="*/ 481 w 1558"/>
                  <a:gd name="T37" fmla="*/ 245 h 1683"/>
                  <a:gd name="T38" fmla="*/ 297 w 1558"/>
                  <a:gd name="T39" fmla="*/ 190 h 1683"/>
                  <a:gd name="T40" fmla="*/ 64 w 1558"/>
                  <a:gd name="T41" fmla="*/ 116 h 1683"/>
                  <a:gd name="T42" fmla="*/ 64 w 1558"/>
                  <a:gd name="T43" fmla="*/ 344 h 1683"/>
                  <a:gd name="T44" fmla="*/ 225 w 1558"/>
                  <a:gd name="T45" fmla="*/ 402 h 1683"/>
                  <a:gd name="T46" fmla="*/ 225 w 1558"/>
                  <a:gd name="T47" fmla="*/ 165 h 1683"/>
                  <a:gd name="T48" fmla="*/ 64 w 1558"/>
                  <a:gd name="T49" fmla="*/ 116 h 1683"/>
                  <a:gd name="T50" fmla="*/ 0 w 1558"/>
                  <a:gd name="T51" fmla="*/ 0 h 1683"/>
                  <a:gd name="T52" fmla="*/ 1558 w 1558"/>
                  <a:gd name="T53" fmla="*/ 421 h 1683"/>
                  <a:gd name="T54" fmla="*/ 1558 w 1558"/>
                  <a:gd name="T55" fmla="*/ 1683 h 1683"/>
                  <a:gd name="T56" fmla="*/ 0 w 1558"/>
                  <a:gd name="T57" fmla="*/ 884 h 1683"/>
                  <a:gd name="T58" fmla="*/ 0 w 1558"/>
                  <a:gd name="T59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58" h="1683">
                    <a:moveTo>
                      <a:pt x="1188" y="446"/>
                    </a:moveTo>
                    <a:lnTo>
                      <a:pt x="1188" y="745"/>
                    </a:lnTo>
                    <a:lnTo>
                      <a:pt x="1470" y="847"/>
                    </a:lnTo>
                    <a:lnTo>
                      <a:pt x="1470" y="530"/>
                    </a:lnTo>
                    <a:lnTo>
                      <a:pt x="1188" y="446"/>
                    </a:lnTo>
                    <a:close/>
                    <a:moveTo>
                      <a:pt x="849" y="352"/>
                    </a:moveTo>
                    <a:lnTo>
                      <a:pt x="849" y="628"/>
                    </a:lnTo>
                    <a:lnTo>
                      <a:pt x="1090" y="716"/>
                    </a:lnTo>
                    <a:lnTo>
                      <a:pt x="1090" y="423"/>
                    </a:lnTo>
                    <a:lnTo>
                      <a:pt x="849" y="352"/>
                    </a:lnTo>
                    <a:close/>
                    <a:moveTo>
                      <a:pt x="553" y="262"/>
                    </a:moveTo>
                    <a:lnTo>
                      <a:pt x="553" y="521"/>
                    </a:lnTo>
                    <a:lnTo>
                      <a:pt x="763" y="596"/>
                    </a:lnTo>
                    <a:lnTo>
                      <a:pt x="763" y="325"/>
                    </a:lnTo>
                    <a:lnTo>
                      <a:pt x="553" y="262"/>
                    </a:lnTo>
                    <a:close/>
                    <a:moveTo>
                      <a:pt x="297" y="190"/>
                    </a:moveTo>
                    <a:lnTo>
                      <a:pt x="297" y="432"/>
                    </a:lnTo>
                    <a:lnTo>
                      <a:pt x="481" y="498"/>
                    </a:lnTo>
                    <a:lnTo>
                      <a:pt x="481" y="245"/>
                    </a:lnTo>
                    <a:lnTo>
                      <a:pt x="297" y="190"/>
                    </a:lnTo>
                    <a:close/>
                    <a:moveTo>
                      <a:pt x="64" y="116"/>
                    </a:moveTo>
                    <a:lnTo>
                      <a:pt x="64" y="344"/>
                    </a:lnTo>
                    <a:lnTo>
                      <a:pt x="225" y="402"/>
                    </a:lnTo>
                    <a:lnTo>
                      <a:pt x="225" y="165"/>
                    </a:lnTo>
                    <a:lnTo>
                      <a:pt x="64" y="116"/>
                    </a:lnTo>
                    <a:close/>
                    <a:moveTo>
                      <a:pt x="0" y="0"/>
                    </a:moveTo>
                    <a:lnTo>
                      <a:pt x="1558" y="421"/>
                    </a:lnTo>
                    <a:lnTo>
                      <a:pt x="1558" y="1683"/>
                    </a:lnTo>
                    <a:lnTo>
                      <a:pt x="0" y="88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75"/>
              <p:cNvSpPr>
                <a:spLocks/>
              </p:cNvSpPr>
              <p:nvPr/>
            </p:nvSpPr>
            <p:spPr bwMode="auto">
              <a:xfrm>
                <a:off x="-2300288" y="2239963"/>
                <a:ext cx="1836738" cy="652463"/>
              </a:xfrm>
              <a:custGeom>
                <a:avLst/>
                <a:gdLst>
                  <a:gd name="T0" fmla="*/ 0 w 3471"/>
                  <a:gd name="T1" fmla="*/ 0 h 1232"/>
                  <a:gd name="T2" fmla="*/ 1782 w 3471"/>
                  <a:gd name="T3" fmla="*/ 954 h 1232"/>
                  <a:gd name="T4" fmla="*/ 3471 w 3471"/>
                  <a:gd name="T5" fmla="*/ 50 h 1232"/>
                  <a:gd name="T6" fmla="*/ 3471 w 3471"/>
                  <a:gd name="T7" fmla="*/ 237 h 1232"/>
                  <a:gd name="T8" fmla="*/ 1786 w 3471"/>
                  <a:gd name="T9" fmla="*/ 1230 h 1232"/>
                  <a:gd name="T10" fmla="*/ 1786 w 3471"/>
                  <a:gd name="T11" fmla="*/ 1232 h 1232"/>
                  <a:gd name="T12" fmla="*/ 1784 w 3471"/>
                  <a:gd name="T13" fmla="*/ 1231 h 1232"/>
                  <a:gd name="T14" fmla="*/ 1782 w 3471"/>
                  <a:gd name="T15" fmla="*/ 1231 h 1232"/>
                  <a:gd name="T16" fmla="*/ 1782 w 3471"/>
                  <a:gd name="T17" fmla="*/ 1230 h 1232"/>
                  <a:gd name="T18" fmla="*/ 0 w 3471"/>
                  <a:gd name="T19" fmla="*/ 179 h 1232"/>
                  <a:gd name="T20" fmla="*/ 0 w 3471"/>
                  <a:gd name="T21" fmla="*/ 0 h 1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71" h="1232">
                    <a:moveTo>
                      <a:pt x="0" y="0"/>
                    </a:moveTo>
                    <a:lnTo>
                      <a:pt x="1782" y="954"/>
                    </a:lnTo>
                    <a:lnTo>
                      <a:pt x="3471" y="50"/>
                    </a:lnTo>
                    <a:lnTo>
                      <a:pt x="3471" y="237"/>
                    </a:lnTo>
                    <a:lnTo>
                      <a:pt x="1786" y="1230"/>
                    </a:lnTo>
                    <a:lnTo>
                      <a:pt x="1786" y="1232"/>
                    </a:lnTo>
                    <a:lnTo>
                      <a:pt x="1784" y="1231"/>
                    </a:lnTo>
                    <a:lnTo>
                      <a:pt x="1782" y="1231"/>
                    </a:lnTo>
                    <a:lnTo>
                      <a:pt x="1782" y="1230"/>
                    </a:lnTo>
                    <a:lnTo>
                      <a:pt x="0" y="1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13" name="TextBox 112"/>
            <p:cNvSpPr txBox="1"/>
            <p:nvPr/>
          </p:nvSpPr>
          <p:spPr>
            <a:xfrm>
              <a:off x="1773188" y="3475101"/>
              <a:ext cx="114681" cy="298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b="1" dirty="0" smtClean="0">
                  <a:ln w="3175">
                    <a:solidFill>
                      <a:schemeClr val="tx2"/>
                    </a:solidFill>
                  </a:ln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6773801" y="3707572"/>
            <a:ext cx="213678" cy="217948"/>
            <a:chOff x="1580534" y="3404127"/>
            <a:chExt cx="371788" cy="371788"/>
          </a:xfrm>
        </p:grpSpPr>
        <p:sp>
          <p:nvSpPr>
            <p:cNvPr id="120" name="Oval 119"/>
            <p:cNvSpPr/>
            <p:nvPr/>
          </p:nvSpPr>
          <p:spPr bwMode="ltGray">
            <a:xfrm>
              <a:off x="1580534" y="3404127"/>
              <a:ext cx="371788" cy="371788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121" name="Group 120"/>
            <p:cNvGrpSpPr/>
            <p:nvPr/>
          </p:nvGrpSpPr>
          <p:grpSpPr>
            <a:xfrm>
              <a:off x="1607962" y="3497505"/>
              <a:ext cx="244708" cy="170894"/>
              <a:chOff x="-2300288" y="1609725"/>
              <a:chExt cx="1836738" cy="1282701"/>
            </a:xfrm>
            <a:solidFill>
              <a:schemeClr val="bg1"/>
            </a:solidFill>
          </p:grpSpPr>
          <p:sp>
            <p:nvSpPr>
              <p:cNvPr id="123" name="Freeform 71"/>
              <p:cNvSpPr>
                <a:spLocks/>
              </p:cNvSpPr>
              <p:nvPr/>
            </p:nvSpPr>
            <p:spPr bwMode="auto">
              <a:xfrm>
                <a:off x="-1493838" y="1663700"/>
                <a:ext cx="823913" cy="209550"/>
              </a:xfrm>
              <a:custGeom>
                <a:avLst/>
                <a:gdLst>
                  <a:gd name="T0" fmla="*/ 0 w 1555"/>
                  <a:gd name="T1" fmla="*/ 0 h 397"/>
                  <a:gd name="T2" fmla="*/ 1555 w 1555"/>
                  <a:gd name="T3" fmla="*/ 32 h 397"/>
                  <a:gd name="T4" fmla="*/ 1176 w 1555"/>
                  <a:gd name="T5" fmla="*/ 397 h 397"/>
                  <a:gd name="T6" fmla="*/ 687 w 1555"/>
                  <a:gd name="T7" fmla="*/ 85 h 397"/>
                  <a:gd name="T8" fmla="*/ 0 w 1555"/>
                  <a:gd name="T9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5" h="397">
                    <a:moveTo>
                      <a:pt x="0" y="0"/>
                    </a:moveTo>
                    <a:lnTo>
                      <a:pt x="1555" y="32"/>
                    </a:lnTo>
                    <a:lnTo>
                      <a:pt x="1176" y="397"/>
                    </a:lnTo>
                    <a:lnTo>
                      <a:pt x="687" y="8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72"/>
              <p:cNvSpPr>
                <a:spLocks/>
              </p:cNvSpPr>
              <p:nvPr/>
            </p:nvSpPr>
            <p:spPr bwMode="auto">
              <a:xfrm>
                <a:off x="-2189163" y="1609725"/>
                <a:ext cx="1031875" cy="395288"/>
              </a:xfrm>
              <a:custGeom>
                <a:avLst/>
                <a:gdLst>
                  <a:gd name="T0" fmla="*/ 390 w 1950"/>
                  <a:gd name="T1" fmla="*/ 0 h 747"/>
                  <a:gd name="T2" fmla="*/ 1950 w 1950"/>
                  <a:gd name="T3" fmla="*/ 214 h 747"/>
                  <a:gd name="T4" fmla="*/ 1570 w 1950"/>
                  <a:gd name="T5" fmla="*/ 747 h 747"/>
                  <a:gd name="T6" fmla="*/ 0 w 1950"/>
                  <a:gd name="T7" fmla="*/ 329 h 747"/>
                  <a:gd name="T8" fmla="*/ 390 w 1950"/>
                  <a:gd name="T9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0" h="747">
                    <a:moveTo>
                      <a:pt x="390" y="0"/>
                    </a:moveTo>
                    <a:lnTo>
                      <a:pt x="1950" y="214"/>
                    </a:lnTo>
                    <a:lnTo>
                      <a:pt x="1570" y="747"/>
                    </a:lnTo>
                    <a:lnTo>
                      <a:pt x="0" y="329"/>
                    </a:lnTo>
                    <a:lnTo>
                      <a:pt x="39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73"/>
              <p:cNvSpPr>
                <a:spLocks noEditPoints="1"/>
              </p:cNvSpPr>
              <p:nvPr/>
            </p:nvSpPr>
            <p:spPr bwMode="auto">
              <a:xfrm>
                <a:off x="-1338263" y="1681163"/>
                <a:ext cx="806450" cy="1016000"/>
              </a:xfrm>
              <a:custGeom>
                <a:avLst/>
                <a:gdLst>
                  <a:gd name="T0" fmla="*/ 735 w 1526"/>
                  <a:gd name="T1" fmla="*/ 1201 h 1921"/>
                  <a:gd name="T2" fmla="*/ 185 w 1526"/>
                  <a:gd name="T3" fmla="*/ 1451 h 1921"/>
                  <a:gd name="T4" fmla="*/ 185 w 1526"/>
                  <a:gd name="T5" fmla="*/ 1523 h 1921"/>
                  <a:gd name="T6" fmla="*/ 735 w 1526"/>
                  <a:gd name="T7" fmla="*/ 1265 h 1921"/>
                  <a:gd name="T8" fmla="*/ 735 w 1526"/>
                  <a:gd name="T9" fmla="*/ 1201 h 1921"/>
                  <a:gd name="T10" fmla="*/ 735 w 1526"/>
                  <a:gd name="T11" fmla="*/ 1103 h 1921"/>
                  <a:gd name="T12" fmla="*/ 185 w 1526"/>
                  <a:gd name="T13" fmla="*/ 1340 h 1921"/>
                  <a:gd name="T14" fmla="*/ 185 w 1526"/>
                  <a:gd name="T15" fmla="*/ 1413 h 1921"/>
                  <a:gd name="T16" fmla="*/ 735 w 1526"/>
                  <a:gd name="T17" fmla="*/ 1167 h 1921"/>
                  <a:gd name="T18" fmla="*/ 735 w 1526"/>
                  <a:gd name="T19" fmla="*/ 1103 h 1921"/>
                  <a:gd name="T20" fmla="*/ 735 w 1526"/>
                  <a:gd name="T21" fmla="*/ 999 h 1921"/>
                  <a:gd name="T22" fmla="*/ 185 w 1526"/>
                  <a:gd name="T23" fmla="*/ 1225 h 1921"/>
                  <a:gd name="T24" fmla="*/ 185 w 1526"/>
                  <a:gd name="T25" fmla="*/ 1296 h 1921"/>
                  <a:gd name="T26" fmla="*/ 735 w 1526"/>
                  <a:gd name="T27" fmla="*/ 1063 h 1921"/>
                  <a:gd name="T28" fmla="*/ 735 w 1526"/>
                  <a:gd name="T29" fmla="*/ 999 h 1921"/>
                  <a:gd name="T30" fmla="*/ 1420 w 1526"/>
                  <a:gd name="T31" fmla="*/ 898 h 1921"/>
                  <a:gd name="T32" fmla="*/ 1037 w 1526"/>
                  <a:gd name="T33" fmla="*/ 1073 h 1921"/>
                  <a:gd name="T34" fmla="*/ 1037 w 1526"/>
                  <a:gd name="T35" fmla="*/ 1132 h 1921"/>
                  <a:gd name="T36" fmla="*/ 1420 w 1526"/>
                  <a:gd name="T37" fmla="*/ 952 h 1921"/>
                  <a:gd name="T38" fmla="*/ 1420 w 1526"/>
                  <a:gd name="T39" fmla="*/ 898 h 1921"/>
                  <a:gd name="T40" fmla="*/ 735 w 1526"/>
                  <a:gd name="T41" fmla="*/ 889 h 1921"/>
                  <a:gd name="T42" fmla="*/ 185 w 1526"/>
                  <a:gd name="T43" fmla="*/ 1100 h 1921"/>
                  <a:gd name="T44" fmla="*/ 185 w 1526"/>
                  <a:gd name="T45" fmla="*/ 1172 h 1921"/>
                  <a:gd name="T46" fmla="*/ 735 w 1526"/>
                  <a:gd name="T47" fmla="*/ 953 h 1921"/>
                  <a:gd name="T48" fmla="*/ 735 w 1526"/>
                  <a:gd name="T49" fmla="*/ 889 h 1921"/>
                  <a:gd name="T50" fmla="*/ 1420 w 1526"/>
                  <a:gd name="T51" fmla="*/ 815 h 1921"/>
                  <a:gd name="T52" fmla="*/ 1037 w 1526"/>
                  <a:gd name="T53" fmla="*/ 981 h 1921"/>
                  <a:gd name="T54" fmla="*/ 1037 w 1526"/>
                  <a:gd name="T55" fmla="*/ 1041 h 1921"/>
                  <a:gd name="T56" fmla="*/ 1420 w 1526"/>
                  <a:gd name="T57" fmla="*/ 869 h 1921"/>
                  <a:gd name="T58" fmla="*/ 1420 w 1526"/>
                  <a:gd name="T59" fmla="*/ 815 h 1921"/>
                  <a:gd name="T60" fmla="*/ 1420 w 1526"/>
                  <a:gd name="T61" fmla="*/ 729 h 1921"/>
                  <a:gd name="T62" fmla="*/ 1037 w 1526"/>
                  <a:gd name="T63" fmla="*/ 885 h 1921"/>
                  <a:gd name="T64" fmla="*/ 1037 w 1526"/>
                  <a:gd name="T65" fmla="*/ 945 h 1921"/>
                  <a:gd name="T66" fmla="*/ 1420 w 1526"/>
                  <a:gd name="T67" fmla="*/ 782 h 1921"/>
                  <a:gd name="T68" fmla="*/ 1420 w 1526"/>
                  <a:gd name="T69" fmla="*/ 729 h 1921"/>
                  <a:gd name="T70" fmla="*/ 1420 w 1526"/>
                  <a:gd name="T71" fmla="*/ 636 h 1921"/>
                  <a:gd name="T72" fmla="*/ 1037 w 1526"/>
                  <a:gd name="T73" fmla="*/ 782 h 1921"/>
                  <a:gd name="T74" fmla="*/ 1037 w 1526"/>
                  <a:gd name="T75" fmla="*/ 842 h 1921"/>
                  <a:gd name="T76" fmla="*/ 1420 w 1526"/>
                  <a:gd name="T77" fmla="*/ 689 h 1921"/>
                  <a:gd name="T78" fmla="*/ 1420 w 1526"/>
                  <a:gd name="T79" fmla="*/ 636 h 1921"/>
                  <a:gd name="T80" fmla="*/ 1303 w 1526"/>
                  <a:gd name="T81" fmla="*/ 0 h 1921"/>
                  <a:gd name="T82" fmla="*/ 1526 w 1526"/>
                  <a:gd name="T83" fmla="*/ 230 h 1921"/>
                  <a:gd name="T84" fmla="*/ 1526 w 1526"/>
                  <a:gd name="T85" fmla="*/ 1125 h 1921"/>
                  <a:gd name="T86" fmla="*/ 0 w 1526"/>
                  <a:gd name="T87" fmla="*/ 1921 h 1921"/>
                  <a:gd name="T88" fmla="*/ 0 w 1526"/>
                  <a:gd name="T89" fmla="*/ 654 h 1921"/>
                  <a:gd name="T90" fmla="*/ 389 w 1526"/>
                  <a:gd name="T91" fmla="*/ 92 h 1921"/>
                  <a:gd name="T92" fmla="*/ 890 w 1526"/>
                  <a:gd name="T93" fmla="*/ 408 h 1921"/>
                  <a:gd name="T94" fmla="*/ 1303 w 1526"/>
                  <a:gd name="T95" fmla="*/ 0 h 1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26" h="1921">
                    <a:moveTo>
                      <a:pt x="735" y="1201"/>
                    </a:moveTo>
                    <a:lnTo>
                      <a:pt x="185" y="1451"/>
                    </a:lnTo>
                    <a:lnTo>
                      <a:pt x="185" y="1523"/>
                    </a:lnTo>
                    <a:lnTo>
                      <a:pt x="735" y="1265"/>
                    </a:lnTo>
                    <a:lnTo>
                      <a:pt x="735" y="1201"/>
                    </a:lnTo>
                    <a:close/>
                    <a:moveTo>
                      <a:pt x="735" y="1103"/>
                    </a:moveTo>
                    <a:lnTo>
                      <a:pt x="185" y="1340"/>
                    </a:lnTo>
                    <a:lnTo>
                      <a:pt x="185" y="1413"/>
                    </a:lnTo>
                    <a:lnTo>
                      <a:pt x="735" y="1167"/>
                    </a:lnTo>
                    <a:lnTo>
                      <a:pt x="735" y="1103"/>
                    </a:lnTo>
                    <a:close/>
                    <a:moveTo>
                      <a:pt x="735" y="999"/>
                    </a:moveTo>
                    <a:lnTo>
                      <a:pt x="185" y="1225"/>
                    </a:lnTo>
                    <a:lnTo>
                      <a:pt x="185" y="1296"/>
                    </a:lnTo>
                    <a:lnTo>
                      <a:pt x="735" y="1063"/>
                    </a:lnTo>
                    <a:lnTo>
                      <a:pt x="735" y="999"/>
                    </a:lnTo>
                    <a:close/>
                    <a:moveTo>
                      <a:pt x="1420" y="898"/>
                    </a:moveTo>
                    <a:lnTo>
                      <a:pt x="1037" y="1073"/>
                    </a:lnTo>
                    <a:lnTo>
                      <a:pt x="1037" y="1132"/>
                    </a:lnTo>
                    <a:lnTo>
                      <a:pt x="1420" y="952"/>
                    </a:lnTo>
                    <a:lnTo>
                      <a:pt x="1420" y="898"/>
                    </a:lnTo>
                    <a:close/>
                    <a:moveTo>
                      <a:pt x="735" y="889"/>
                    </a:moveTo>
                    <a:lnTo>
                      <a:pt x="185" y="1100"/>
                    </a:lnTo>
                    <a:lnTo>
                      <a:pt x="185" y="1172"/>
                    </a:lnTo>
                    <a:lnTo>
                      <a:pt x="735" y="953"/>
                    </a:lnTo>
                    <a:lnTo>
                      <a:pt x="735" y="889"/>
                    </a:lnTo>
                    <a:close/>
                    <a:moveTo>
                      <a:pt x="1420" y="815"/>
                    </a:moveTo>
                    <a:lnTo>
                      <a:pt x="1037" y="981"/>
                    </a:lnTo>
                    <a:lnTo>
                      <a:pt x="1037" y="1041"/>
                    </a:lnTo>
                    <a:lnTo>
                      <a:pt x="1420" y="869"/>
                    </a:lnTo>
                    <a:lnTo>
                      <a:pt x="1420" y="815"/>
                    </a:lnTo>
                    <a:close/>
                    <a:moveTo>
                      <a:pt x="1420" y="729"/>
                    </a:moveTo>
                    <a:lnTo>
                      <a:pt x="1037" y="885"/>
                    </a:lnTo>
                    <a:lnTo>
                      <a:pt x="1037" y="945"/>
                    </a:lnTo>
                    <a:lnTo>
                      <a:pt x="1420" y="782"/>
                    </a:lnTo>
                    <a:lnTo>
                      <a:pt x="1420" y="729"/>
                    </a:lnTo>
                    <a:close/>
                    <a:moveTo>
                      <a:pt x="1420" y="636"/>
                    </a:moveTo>
                    <a:lnTo>
                      <a:pt x="1037" y="782"/>
                    </a:lnTo>
                    <a:lnTo>
                      <a:pt x="1037" y="842"/>
                    </a:lnTo>
                    <a:lnTo>
                      <a:pt x="1420" y="689"/>
                    </a:lnTo>
                    <a:lnTo>
                      <a:pt x="1420" y="636"/>
                    </a:lnTo>
                    <a:close/>
                    <a:moveTo>
                      <a:pt x="1303" y="0"/>
                    </a:moveTo>
                    <a:lnTo>
                      <a:pt x="1526" y="230"/>
                    </a:lnTo>
                    <a:lnTo>
                      <a:pt x="1526" y="1125"/>
                    </a:lnTo>
                    <a:lnTo>
                      <a:pt x="0" y="1921"/>
                    </a:lnTo>
                    <a:lnTo>
                      <a:pt x="0" y="654"/>
                    </a:lnTo>
                    <a:lnTo>
                      <a:pt x="389" y="92"/>
                    </a:lnTo>
                    <a:lnTo>
                      <a:pt x="890" y="408"/>
                    </a:lnTo>
                    <a:lnTo>
                      <a:pt x="13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74"/>
              <p:cNvSpPr>
                <a:spLocks noEditPoints="1"/>
              </p:cNvSpPr>
              <p:nvPr/>
            </p:nvSpPr>
            <p:spPr bwMode="auto">
              <a:xfrm>
                <a:off x="-2193924" y="1804987"/>
                <a:ext cx="823916" cy="890589"/>
              </a:xfrm>
              <a:custGeom>
                <a:avLst/>
                <a:gdLst>
                  <a:gd name="T0" fmla="*/ 1188 w 1558"/>
                  <a:gd name="T1" fmla="*/ 446 h 1683"/>
                  <a:gd name="T2" fmla="*/ 1188 w 1558"/>
                  <a:gd name="T3" fmla="*/ 745 h 1683"/>
                  <a:gd name="T4" fmla="*/ 1470 w 1558"/>
                  <a:gd name="T5" fmla="*/ 847 h 1683"/>
                  <a:gd name="T6" fmla="*/ 1470 w 1558"/>
                  <a:gd name="T7" fmla="*/ 530 h 1683"/>
                  <a:gd name="T8" fmla="*/ 1188 w 1558"/>
                  <a:gd name="T9" fmla="*/ 446 h 1683"/>
                  <a:gd name="T10" fmla="*/ 849 w 1558"/>
                  <a:gd name="T11" fmla="*/ 352 h 1683"/>
                  <a:gd name="T12" fmla="*/ 849 w 1558"/>
                  <a:gd name="T13" fmla="*/ 628 h 1683"/>
                  <a:gd name="T14" fmla="*/ 1090 w 1558"/>
                  <a:gd name="T15" fmla="*/ 716 h 1683"/>
                  <a:gd name="T16" fmla="*/ 1090 w 1558"/>
                  <a:gd name="T17" fmla="*/ 423 h 1683"/>
                  <a:gd name="T18" fmla="*/ 849 w 1558"/>
                  <a:gd name="T19" fmla="*/ 352 h 1683"/>
                  <a:gd name="T20" fmla="*/ 553 w 1558"/>
                  <a:gd name="T21" fmla="*/ 262 h 1683"/>
                  <a:gd name="T22" fmla="*/ 553 w 1558"/>
                  <a:gd name="T23" fmla="*/ 521 h 1683"/>
                  <a:gd name="T24" fmla="*/ 763 w 1558"/>
                  <a:gd name="T25" fmla="*/ 596 h 1683"/>
                  <a:gd name="T26" fmla="*/ 763 w 1558"/>
                  <a:gd name="T27" fmla="*/ 325 h 1683"/>
                  <a:gd name="T28" fmla="*/ 553 w 1558"/>
                  <a:gd name="T29" fmla="*/ 262 h 1683"/>
                  <a:gd name="T30" fmla="*/ 297 w 1558"/>
                  <a:gd name="T31" fmla="*/ 190 h 1683"/>
                  <a:gd name="T32" fmla="*/ 297 w 1558"/>
                  <a:gd name="T33" fmla="*/ 432 h 1683"/>
                  <a:gd name="T34" fmla="*/ 481 w 1558"/>
                  <a:gd name="T35" fmla="*/ 498 h 1683"/>
                  <a:gd name="T36" fmla="*/ 481 w 1558"/>
                  <a:gd name="T37" fmla="*/ 245 h 1683"/>
                  <a:gd name="T38" fmla="*/ 297 w 1558"/>
                  <a:gd name="T39" fmla="*/ 190 h 1683"/>
                  <a:gd name="T40" fmla="*/ 64 w 1558"/>
                  <a:gd name="T41" fmla="*/ 116 h 1683"/>
                  <a:gd name="T42" fmla="*/ 64 w 1558"/>
                  <a:gd name="T43" fmla="*/ 344 h 1683"/>
                  <a:gd name="T44" fmla="*/ 225 w 1558"/>
                  <a:gd name="T45" fmla="*/ 402 h 1683"/>
                  <a:gd name="T46" fmla="*/ 225 w 1558"/>
                  <a:gd name="T47" fmla="*/ 165 h 1683"/>
                  <a:gd name="T48" fmla="*/ 64 w 1558"/>
                  <a:gd name="T49" fmla="*/ 116 h 1683"/>
                  <a:gd name="T50" fmla="*/ 0 w 1558"/>
                  <a:gd name="T51" fmla="*/ 0 h 1683"/>
                  <a:gd name="T52" fmla="*/ 1558 w 1558"/>
                  <a:gd name="T53" fmla="*/ 421 h 1683"/>
                  <a:gd name="T54" fmla="*/ 1558 w 1558"/>
                  <a:gd name="T55" fmla="*/ 1683 h 1683"/>
                  <a:gd name="T56" fmla="*/ 0 w 1558"/>
                  <a:gd name="T57" fmla="*/ 884 h 1683"/>
                  <a:gd name="T58" fmla="*/ 0 w 1558"/>
                  <a:gd name="T59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58" h="1683">
                    <a:moveTo>
                      <a:pt x="1188" y="446"/>
                    </a:moveTo>
                    <a:lnTo>
                      <a:pt x="1188" y="745"/>
                    </a:lnTo>
                    <a:lnTo>
                      <a:pt x="1470" y="847"/>
                    </a:lnTo>
                    <a:lnTo>
                      <a:pt x="1470" y="530"/>
                    </a:lnTo>
                    <a:lnTo>
                      <a:pt x="1188" y="446"/>
                    </a:lnTo>
                    <a:close/>
                    <a:moveTo>
                      <a:pt x="849" y="352"/>
                    </a:moveTo>
                    <a:lnTo>
                      <a:pt x="849" y="628"/>
                    </a:lnTo>
                    <a:lnTo>
                      <a:pt x="1090" y="716"/>
                    </a:lnTo>
                    <a:lnTo>
                      <a:pt x="1090" y="423"/>
                    </a:lnTo>
                    <a:lnTo>
                      <a:pt x="849" y="352"/>
                    </a:lnTo>
                    <a:close/>
                    <a:moveTo>
                      <a:pt x="553" y="262"/>
                    </a:moveTo>
                    <a:lnTo>
                      <a:pt x="553" y="521"/>
                    </a:lnTo>
                    <a:lnTo>
                      <a:pt x="763" y="596"/>
                    </a:lnTo>
                    <a:lnTo>
                      <a:pt x="763" y="325"/>
                    </a:lnTo>
                    <a:lnTo>
                      <a:pt x="553" y="262"/>
                    </a:lnTo>
                    <a:close/>
                    <a:moveTo>
                      <a:pt x="297" y="190"/>
                    </a:moveTo>
                    <a:lnTo>
                      <a:pt x="297" y="432"/>
                    </a:lnTo>
                    <a:lnTo>
                      <a:pt x="481" y="498"/>
                    </a:lnTo>
                    <a:lnTo>
                      <a:pt x="481" y="245"/>
                    </a:lnTo>
                    <a:lnTo>
                      <a:pt x="297" y="190"/>
                    </a:lnTo>
                    <a:close/>
                    <a:moveTo>
                      <a:pt x="64" y="116"/>
                    </a:moveTo>
                    <a:lnTo>
                      <a:pt x="64" y="344"/>
                    </a:lnTo>
                    <a:lnTo>
                      <a:pt x="225" y="402"/>
                    </a:lnTo>
                    <a:lnTo>
                      <a:pt x="225" y="165"/>
                    </a:lnTo>
                    <a:lnTo>
                      <a:pt x="64" y="116"/>
                    </a:lnTo>
                    <a:close/>
                    <a:moveTo>
                      <a:pt x="0" y="0"/>
                    </a:moveTo>
                    <a:lnTo>
                      <a:pt x="1558" y="421"/>
                    </a:lnTo>
                    <a:lnTo>
                      <a:pt x="1558" y="1683"/>
                    </a:lnTo>
                    <a:lnTo>
                      <a:pt x="0" y="88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75"/>
              <p:cNvSpPr>
                <a:spLocks/>
              </p:cNvSpPr>
              <p:nvPr/>
            </p:nvSpPr>
            <p:spPr bwMode="auto">
              <a:xfrm>
                <a:off x="-2300288" y="2239963"/>
                <a:ext cx="1836738" cy="652463"/>
              </a:xfrm>
              <a:custGeom>
                <a:avLst/>
                <a:gdLst>
                  <a:gd name="T0" fmla="*/ 0 w 3471"/>
                  <a:gd name="T1" fmla="*/ 0 h 1232"/>
                  <a:gd name="T2" fmla="*/ 1782 w 3471"/>
                  <a:gd name="T3" fmla="*/ 954 h 1232"/>
                  <a:gd name="T4" fmla="*/ 3471 w 3471"/>
                  <a:gd name="T5" fmla="*/ 50 h 1232"/>
                  <a:gd name="T6" fmla="*/ 3471 w 3471"/>
                  <a:gd name="T7" fmla="*/ 237 h 1232"/>
                  <a:gd name="T8" fmla="*/ 1786 w 3471"/>
                  <a:gd name="T9" fmla="*/ 1230 h 1232"/>
                  <a:gd name="T10" fmla="*/ 1786 w 3471"/>
                  <a:gd name="T11" fmla="*/ 1232 h 1232"/>
                  <a:gd name="T12" fmla="*/ 1784 w 3471"/>
                  <a:gd name="T13" fmla="*/ 1231 h 1232"/>
                  <a:gd name="T14" fmla="*/ 1782 w 3471"/>
                  <a:gd name="T15" fmla="*/ 1231 h 1232"/>
                  <a:gd name="T16" fmla="*/ 1782 w 3471"/>
                  <a:gd name="T17" fmla="*/ 1230 h 1232"/>
                  <a:gd name="T18" fmla="*/ 0 w 3471"/>
                  <a:gd name="T19" fmla="*/ 179 h 1232"/>
                  <a:gd name="T20" fmla="*/ 0 w 3471"/>
                  <a:gd name="T21" fmla="*/ 0 h 1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71" h="1232">
                    <a:moveTo>
                      <a:pt x="0" y="0"/>
                    </a:moveTo>
                    <a:lnTo>
                      <a:pt x="1782" y="954"/>
                    </a:lnTo>
                    <a:lnTo>
                      <a:pt x="3471" y="50"/>
                    </a:lnTo>
                    <a:lnTo>
                      <a:pt x="3471" y="237"/>
                    </a:lnTo>
                    <a:lnTo>
                      <a:pt x="1786" y="1230"/>
                    </a:lnTo>
                    <a:lnTo>
                      <a:pt x="1786" y="1232"/>
                    </a:lnTo>
                    <a:lnTo>
                      <a:pt x="1784" y="1231"/>
                    </a:lnTo>
                    <a:lnTo>
                      <a:pt x="1782" y="1231"/>
                    </a:lnTo>
                    <a:lnTo>
                      <a:pt x="1782" y="1230"/>
                    </a:lnTo>
                    <a:lnTo>
                      <a:pt x="0" y="1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22" name="TextBox 121"/>
            <p:cNvSpPr txBox="1"/>
            <p:nvPr/>
          </p:nvSpPr>
          <p:spPr>
            <a:xfrm>
              <a:off x="1773188" y="3475101"/>
              <a:ext cx="114681" cy="298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b="1" dirty="0" smtClean="0">
                  <a:ln w="3175">
                    <a:solidFill>
                      <a:schemeClr val="tx2"/>
                    </a:solidFill>
                  </a:ln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527230" y="2022550"/>
            <a:ext cx="213678" cy="217948"/>
            <a:chOff x="1580534" y="3404127"/>
            <a:chExt cx="371788" cy="371788"/>
          </a:xfrm>
        </p:grpSpPr>
        <p:sp>
          <p:nvSpPr>
            <p:cNvPr id="129" name="Oval 128"/>
            <p:cNvSpPr/>
            <p:nvPr/>
          </p:nvSpPr>
          <p:spPr bwMode="ltGray">
            <a:xfrm>
              <a:off x="1580534" y="3404127"/>
              <a:ext cx="371788" cy="371788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1607962" y="3497505"/>
              <a:ext cx="244708" cy="170894"/>
              <a:chOff x="-2300288" y="1609725"/>
              <a:chExt cx="1836738" cy="1282701"/>
            </a:xfrm>
            <a:solidFill>
              <a:schemeClr val="bg1"/>
            </a:solidFill>
          </p:grpSpPr>
          <p:sp>
            <p:nvSpPr>
              <p:cNvPr id="132" name="Freeform 71"/>
              <p:cNvSpPr>
                <a:spLocks/>
              </p:cNvSpPr>
              <p:nvPr/>
            </p:nvSpPr>
            <p:spPr bwMode="auto">
              <a:xfrm>
                <a:off x="-1493838" y="1663700"/>
                <a:ext cx="823913" cy="209550"/>
              </a:xfrm>
              <a:custGeom>
                <a:avLst/>
                <a:gdLst>
                  <a:gd name="T0" fmla="*/ 0 w 1555"/>
                  <a:gd name="T1" fmla="*/ 0 h 397"/>
                  <a:gd name="T2" fmla="*/ 1555 w 1555"/>
                  <a:gd name="T3" fmla="*/ 32 h 397"/>
                  <a:gd name="T4" fmla="*/ 1176 w 1555"/>
                  <a:gd name="T5" fmla="*/ 397 h 397"/>
                  <a:gd name="T6" fmla="*/ 687 w 1555"/>
                  <a:gd name="T7" fmla="*/ 85 h 397"/>
                  <a:gd name="T8" fmla="*/ 0 w 1555"/>
                  <a:gd name="T9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5" h="397">
                    <a:moveTo>
                      <a:pt x="0" y="0"/>
                    </a:moveTo>
                    <a:lnTo>
                      <a:pt x="1555" y="32"/>
                    </a:lnTo>
                    <a:lnTo>
                      <a:pt x="1176" y="397"/>
                    </a:lnTo>
                    <a:lnTo>
                      <a:pt x="687" y="8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72"/>
              <p:cNvSpPr>
                <a:spLocks/>
              </p:cNvSpPr>
              <p:nvPr/>
            </p:nvSpPr>
            <p:spPr bwMode="auto">
              <a:xfrm>
                <a:off x="-2189163" y="1609725"/>
                <a:ext cx="1031875" cy="395288"/>
              </a:xfrm>
              <a:custGeom>
                <a:avLst/>
                <a:gdLst>
                  <a:gd name="T0" fmla="*/ 390 w 1950"/>
                  <a:gd name="T1" fmla="*/ 0 h 747"/>
                  <a:gd name="T2" fmla="*/ 1950 w 1950"/>
                  <a:gd name="T3" fmla="*/ 214 h 747"/>
                  <a:gd name="T4" fmla="*/ 1570 w 1950"/>
                  <a:gd name="T5" fmla="*/ 747 h 747"/>
                  <a:gd name="T6" fmla="*/ 0 w 1950"/>
                  <a:gd name="T7" fmla="*/ 329 h 747"/>
                  <a:gd name="T8" fmla="*/ 390 w 1950"/>
                  <a:gd name="T9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0" h="747">
                    <a:moveTo>
                      <a:pt x="390" y="0"/>
                    </a:moveTo>
                    <a:lnTo>
                      <a:pt x="1950" y="214"/>
                    </a:lnTo>
                    <a:lnTo>
                      <a:pt x="1570" y="747"/>
                    </a:lnTo>
                    <a:lnTo>
                      <a:pt x="0" y="329"/>
                    </a:lnTo>
                    <a:lnTo>
                      <a:pt x="39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73"/>
              <p:cNvSpPr>
                <a:spLocks noEditPoints="1"/>
              </p:cNvSpPr>
              <p:nvPr/>
            </p:nvSpPr>
            <p:spPr bwMode="auto">
              <a:xfrm>
                <a:off x="-1338263" y="1681163"/>
                <a:ext cx="806450" cy="1016000"/>
              </a:xfrm>
              <a:custGeom>
                <a:avLst/>
                <a:gdLst>
                  <a:gd name="T0" fmla="*/ 735 w 1526"/>
                  <a:gd name="T1" fmla="*/ 1201 h 1921"/>
                  <a:gd name="T2" fmla="*/ 185 w 1526"/>
                  <a:gd name="T3" fmla="*/ 1451 h 1921"/>
                  <a:gd name="T4" fmla="*/ 185 w 1526"/>
                  <a:gd name="T5" fmla="*/ 1523 h 1921"/>
                  <a:gd name="T6" fmla="*/ 735 w 1526"/>
                  <a:gd name="T7" fmla="*/ 1265 h 1921"/>
                  <a:gd name="T8" fmla="*/ 735 w 1526"/>
                  <a:gd name="T9" fmla="*/ 1201 h 1921"/>
                  <a:gd name="T10" fmla="*/ 735 w 1526"/>
                  <a:gd name="T11" fmla="*/ 1103 h 1921"/>
                  <a:gd name="T12" fmla="*/ 185 w 1526"/>
                  <a:gd name="T13" fmla="*/ 1340 h 1921"/>
                  <a:gd name="T14" fmla="*/ 185 w 1526"/>
                  <a:gd name="T15" fmla="*/ 1413 h 1921"/>
                  <a:gd name="T16" fmla="*/ 735 w 1526"/>
                  <a:gd name="T17" fmla="*/ 1167 h 1921"/>
                  <a:gd name="T18" fmla="*/ 735 w 1526"/>
                  <a:gd name="T19" fmla="*/ 1103 h 1921"/>
                  <a:gd name="T20" fmla="*/ 735 w 1526"/>
                  <a:gd name="T21" fmla="*/ 999 h 1921"/>
                  <a:gd name="T22" fmla="*/ 185 w 1526"/>
                  <a:gd name="T23" fmla="*/ 1225 h 1921"/>
                  <a:gd name="T24" fmla="*/ 185 w 1526"/>
                  <a:gd name="T25" fmla="*/ 1296 h 1921"/>
                  <a:gd name="T26" fmla="*/ 735 w 1526"/>
                  <a:gd name="T27" fmla="*/ 1063 h 1921"/>
                  <a:gd name="T28" fmla="*/ 735 w 1526"/>
                  <a:gd name="T29" fmla="*/ 999 h 1921"/>
                  <a:gd name="T30" fmla="*/ 1420 w 1526"/>
                  <a:gd name="T31" fmla="*/ 898 h 1921"/>
                  <a:gd name="T32" fmla="*/ 1037 w 1526"/>
                  <a:gd name="T33" fmla="*/ 1073 h 1921"/>
                  <a:gd name="T34" fmla="*/ 1037 w 1526"/>
                  <a:gd name="T35" fmla="*/ 1132 h 1921"/>
                  <a:gd name="T36" fmla="*/ 1420 w 1526"/>
                  <a:gd name="T37" fmla="*/ 952 h 1921"/>
                  <a:gd name="T38" fmla="*/ 1420 w 1526"/>
                  <a:gd name="T39" fmla="*/ 898 h 1921"/>
                  <a:gd name="T40" fmla="*/ 735 w 1526"/>
                  <a:gd name="T41" fmla="*/ 889 h 1921"/>
                  <a:gd name="T42" fmla="*/ 185 w 1526"/>
                  <a:gd name="T43" fmla="*/ 1100 h 1921"/>
                  <a:gd name="T44" fmla="*/ 185 w 1526"/>
                  <a:gd name="T45" fmla="*/ 1172 h 1921"/>
                  <a:gd name="T46" fmla="*/ 735 w 1526"/>
                  <a:gd name="T47" fmla="*/ 953 h 1921"/>
                  <a:gd name="T48" fmla="*/ 735 w 1526"/>
                  <a:gd name="T49" fmla="*/ 889 h 1921"/>
                  <a:gd name="T50" fmla="*/ 1420 w 1526"/>
                  <a:gd name="T51" fmla="*/ 815 h 1921"/>
                  <a:gd name="T52" fmla="*/ 1037 w 1526"/>
                  <a:gd name="T53" fmla="*/ 981 h 1921"/>
                  <a:gd name="T54" fmla="*/ 1037 w 1526"/>
                  <a:gd name="T55" fmla="*/ 1041 h 1921"/>
                  <a:gd name="T56" fmla="*/ 1420 w 1526"/>
                  <a:gd name="T57" fmla="*/ 869 h 1921"/>
                  <a:gd name="T58" fmla="*/ 1420 w 1526"/>
                  <a:gd name="T59" fmla="*/ 815 h 1921"/>
                  <a:gd name="T60" fmla="*/ 1420 w 1526"/>
                  <a:gd name="T61" fmla="*/ 729 h 1921"/>
                  <a:gd name="T62" fmla="*/ 1037 w 1526"/>
                  <a:gd name="T63" fmla="*/ 885 h 1921"/>
                  <a:gd name="T64" fmla="*/ 1037 w 1526"/>
                  <a:gd name="T65" fmla="*/ 945 h 1921"/>
                  <a:gd name="T66" fmla="*/ 1420 w 1526"/>
                  <a:gd name="T67" fmla="*/ 782 h 1921"/>
                  <a:gd name="T68" fmla="*/ 1420 w 1526"/>
                  <a:gd name="T69" fmla="*/ 729 h 1921"/>
                  <a:gd name="T70" fmla="*/ 1420 w 1526"/>
                  <a:gd name="T71" fmla="*/ 636 h 1921"/>
                  <a:gd name="T72" fmla="*/ 1037 w 1526"/>
                  <a:gd name="T73" fmla="*/ 782 h 1921"/>
                  <a:gd name="T74" fmla="*/ 1037 w 1526"/>
                  <a:gd name="T75" fmla="*/ 842 h 1921"/>
                  <a:gd name="T76" fmla="*/ 1420 w 1526"/>
                  <a:gd name="T77" fmla="*/ 689 h 1921"/>
                  <a:gd name="T78" fmla="*/ 1420 w 1526"/>
                  <a:gd name="T79" fmla="*/ 636 h 1921"/>
                  <a:gd name="T80" fmla="*/ 1303 w 1526"/>
                  <a:gd name="T81" fmla="*/ 0 h 1921"/>
                  <a:gd name="T82" fmla="*/ 1526 w 1526"/>
                  <a:gd name="T83" fmla="*/ 230 h 1921"/>
                  <a:gd name="T84" fmla="*/ 1526 w 1526"/>
                  <a:gd name="T85" fmla="*/ 1125 h 1921"/>
                  <a:gd name="T86" fmla="*/ 0 w 1526"/>
                  <a:gd name="T87" fmla="*/ 1921 h 1921"/>
                  <a:gd name="T88" fmla="*/ 0 w 1526"/>
                  <a:gd name="T89" fmla="*/ 654 h 1921"/>
                  <a:gd name="T90" fmla="*/ 389 w 1526"/>
                  <a:gd name="T91" fmla="*/ 92 h 1921"/>
                  <a:gd name="T92" fmla="*/ 890 w 1526"/>
                  <a:gd name="T93" fmla="*/ 408 h 1921"/>
                  <a:gd name="T94" fmla="*/ 1303 w 1526"/>
                  <a:gd name="T95" fmla="*/ 0 h 1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26" h="1921">
                    <a:moveTo>
                      <a:pt x="735" y="1201"/>
                    </a:moveTo>
                    <a:lnTo>
                      <a:pt x="185" y="1451"/>
                    </a:lnTo>
                    <a:lnTo>
                      <a:pt x="185" y="1523"/>
                    </a:lnTo>
                    <a:lnTo>
                      <a:pt x="735" y="1265"/>
                    </a:lnTo>
                    <a:lnTo>
                      <a:pt x="735" y="1201"/>
                    </a:lnTo>
                    <a:close/>
                    <a:moveTo>
                      <a:pt x="735" y="1103"/>
                    </a:moveTo>
                    <a:lnTo>
                      <a:pt x="185" y="1340"/>
                    </a:lnTo>
                    <a:lnTo>
                      <a:pt x="185" y="1413"/>
                    </a:lnTo>
                    <a:lnTo>
                      <a:pt x="735" y="1167"/>
                    </a:lnTo>
                    <a:lnTo>
                      <a:pt x="735" y="1103"/>
                    </a:lnTo>
                    <a:close/>
                    <a:moveTo>
                      <a:pt x="735" y="999"/>
                    </a:moveTo>
                    <a:lnTo>
                      <a:pt x="185" y="1225"/>
                    </a:lnTo>
                    <a:lnTo>
                      <a:pt x="185" y="1296"/>
                    </a:lnTo>
                    <a:lnTo>
                      <a:pt x="735" y="1063"/>
                    </a:lnTo>
                    <a:lnTo>
                      <a:pt x="735" y="999"/>
                    </a:lnTo>
                    <a:close/>
                    <a:moveTo>
                      <a:pt x="1420" y="898"/>
                    </a:moveTo>
                    <a:lnTo>
                      <a:pt x="1037" y="1073"/>
                    </a:lnTo>
                    <a:lnTo>
                      <a:pt x="1037" y="1132"/>
                    </a:lnTo>
                    <a:lnTo>
                      <a:pt x="1420" y="952"/>
                    </a:lnTo>
                    <a:lnTo>
                      <a:pt x="1420" y="898"/>
                    </a:lnTo>
                    <a:close/>
                    <a:moveTo>
                      <a:pt x="735" y="889"/>
                    </a:moveTo>
                    <a:lnTo>
                      <a:pt x="185" y="1100"/>
                    </a:lnTo>
                    <a:lnTo>
                      <a:pt x="185" y="1172"/>
                    </a:lnTo>
                    <a:lnTo>
                      <a:pt x="735" y="953"/>
                    </a:lnTo>
                    <a:lnTo>
                      <a:pt x="735" y="889"/>
                    </a:lnTo>
                    <a:close/>
                    <a:moveTo>
                      <a:pt x="1420" y="815"/>
                    </a:moveTo>
                    <a:lnTo>
                      <a:pt x="1037" y="981"/>
                    </a:lnTo>
                    <a:lnTo>
                      <a:pt x="1037" y="1041"/>
                    </a:lnTo>
                    <a:lnTo>
                      <a:pt x="1420" y="869"/>
                    </a:lnTo>
                    <a:lnTo>
                      <a:pt x="1420" y="815"/>
                    </a:lnTo>
                    <a:close/>
                    <a:moveTo>
                      <a:pt x="1420" y="729"/>
                    </a:moveTo>
                    <a:lnTo>
                      <a:pt x="1037" y="885"/>
                    </a:lnTo>
                    <a:lnTo>
                      <a:pt x="1037" y="945"/>
                    </a:lnTo>
                    <a:lnTo>
                      <a:pt x="1420" y="782"/>
                    </a:lnTo>
                    <a:lnTo>
                      <a:pt x="1420" y="729"/>
                    </a:lnTo>
                    <a:close/>
                    <a:moveTo>
                      <a:pt x="1420" y="636"/>
                    </a:moveTo>
                    <a:lnTo>
                      <a:pt x="1037" y="782"/>
                    </a:lnTo>
                    <a:lnTo>
                      <a:pt x="1037" y="842"/>
                    </a:lnTo>
                    <a:lnTo>
                      <a:pt x="1420" y="689"/>
                    </a:lnTo>
                    <a:lnTo>
                      <a:pt x="1420" y="636"/>
                    </a:lnTo>
                    <a:close/>
                    <a:moveTo>
                      <a:pt x="1303" y="0"/>
                    </a:moveTo>
                    <a:lnTo>
                      <a:pt x="1526" y="230"/>
                    </a:lnTo>
                    <a:lnTo>
                      <a:pt x="1526" y="1125"/>
                    </a:lnTo>
                    <a:lnTo>
                      <a:pt x="0" y="1921"/>
                    </a:lnTo>
                    <a:lnTo>
                      <a:pt x="0" y="654"/>
                    </a:lnTo>
                    <a:lnTo>
                      <a:pt x="389" y="92"/>
                    </a:lnTo>
                    <a:lnTo>
                      <a:pt x="890" y="408"/>
                    </a:lnTo>
                    <a:lnTo>
                      <a:pt x="13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74"/>
              <p:cNvSpPr>
                <a:spLocks noEditPoints="1"/>
              </p:cNvSpPr>
              <p:nvPr/>
            </p:nvSpPr>
            <p:spPr bwMode="auto">
              <a:xfrm>
                <a:off x="-2193924" y="1804987"/>
                <a:ext cx="823916" cy="890589"/>
              </a:xfrm>
              <a:custGeom>
                <a:avLst/>
                <a:gdLst>
                  <a:gd name="T0" fmla="*/ 1188 w 1558"/>
                  <a:gd name="T1" fmla="*/ 446 h 1683"/>
                  <a:gd name="T2" fmla="*/ 1188 w 1558"/>
                  <a:gd name="T3" fmla="*/ 745 h 1683"/>
                  <a:gd name="T4" fmla="*/ 1470 w 1558"/>
                  <a:gd name="T5" fmla="*/ 847 h 1683"/>
                  <a:gd name="T6" fmla="*/ 1470 w 1558"/>
                  <a:gd name="T7" fmla="*/ 530 h 1683"/>
                  <a:gd name="T8" fmla="*/ 1188 w 1558"/>
                  <a:gd name="T9" fmla="*/ 446 h 1683"/>
                  <a:gd name="T10" fmla="*/ 849 w 1558"/>
                  <a:gd name="T11" fmla="*/ 352 h 1683"/>
                  <a:gd name="T12" fmla="*/ 849 w 1558"/>
                  <a:gd name="T13" fmla="*/ 628 h 1683"/>
                  <a:gd name="T14" fmla="*/ 1090 w 1558"/>
                  <a:gd name="T15" fmla="*/ 716 h 1683"/>
                  <a:gd name="T16" fmla="*/ 1090 w 1558"/>
                  <a:gd name="T17" fmla="*/ 423 h 1683"/>
                  <a:gd name="T18" fmla="*/ 849 w 1558"/>
                  <a:gd name="T19" fmla="*/ 352 h 1683"/>
                  <a:gd name="T20" fmla="*/ 553 w 1558"/>
                  <a:gd name="T21" fmla="*/ 262 h 1683"/>
                  <a:gd name="T22" fmla="*/ 553 w 1558"/>
                  <a:gd name="T23" fmla="*/ 521 h 1683"/>
                  <a:gd name="T24" fmla="*/ 763 w 1558"/>
                  <a:gd name="T25" fmla="*/ 596 h 1683"/>
                  <a:gd name="T26" fmla="*/ 763 w 1558"/>
                  <a:gd name="T27" fmla="*/ 325 h 1683"/>
                  <a:gd name="T28" fmla="*/ 553 w 1558"/>
                  <a:gd name="T29" fmla="*/ 262 h 1683"/>
                  <a:gd name="T30" fmla="*/ 297 w 1558"/>
                  <a:gd name="T31" fmla="*/ 190 h 1683"/>
                  <a:gd name="T32" fmla="*/ 297 w 1558"/>
                  <a:gd name="T33" fmla="*/ 432 h 1683"/>
                  <a:gd name="T34" fmla="*/ 481 w 1558"/>
                  <a:gd name="T35" fmla="*/ 498 h 1683"/>
                  <a:gd name="T36" fmla="*/ 481 w 1558"/>
                  <a:gd name="T37" fmla="*/ 245 h 1683"/>
                  <a:gd name="T38" fmla="*/ 297 w 1558"/>
                  <a:gd name="T39" fmla="*/ 190 h 1683"/>
                  <a:gd name="T40" fmla="*/ 64 w 1558"/>
                  <a:gd name="T41" fmla="*/ 116 h 1683"/>
                  <a:gd name="T42" fmla="*/ 64 w 1558"/>
                  <a:gd name="T43" fmla="*/ 344 h 1683"/>
                  <a:gd name="T44" fmla="*/ 225 w 1558"/>
                  <a:gd name="T45" fmla="*/ 402 h 1683"/>
                  <a:gd name="T46" fmla="*/ 225 w 1558"/>
                  <a:gd name="T47" fmla="*/ 165 h 1683"/>
                  <a:gd name="T48" fmla="*/ 64 w 1558"/>
                  <a:gd name="T49" fmla="*/ 116 h 1683"/>
                  <a:gd name="T50" fmla="*/ 0 w 1558"/>
                  <a:gd name="T51" fmla="*/ 0 h 1683"/>
                  <a:gd name="T52" fmla="*/ 1558 w 1558"/>
                  <a:gd name="T53" fmla="*/ 421 h 1683"/>
                  <a:gd name="T54" fmla="*/ 1558 w 1558"/>
                  <a:gd name="T55" fmla="*/ 1683 h 1683"/>
                  <a:gd name="T56" fmla="*/ 0 w 1558"/>
                  <a:gd name="T57" fmla="*/ 884 h 1683"/>
                  <a:gd name="T58" fmla="*/ 0 w 1558"/>
                  <a:gd name="T59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58" h="1683">
                    <a:moveTo>
                      <a:pt x="1188" y="446"/>
                    </a:moveTo>
                    <a:lnTo>
                      <a:pt x="1188" y="745"/>
                    </a:lnTo>
                    <a:lnTo>
                      <a:pt x="1470" y="847"/>
                    </a:lnTo>
                    <a:lnTo>
                      <a:pt x="1470" y="530"/>
                    </a:lnTo>
                    <a:lnTo>
                      <a:pt x="1188" y="446"/>
                    </a:lnTo>
                    <a:close/>
                    <a:moveTo>
                      <a:pt x="849" y="352"/>
                    </a:moveTo>
                    <a:lnTo>
                      <a:pt x="849" y="628"/>
                    </a:lnTo>
                    <a:lnTo>
                      <a:pt x="1090" y="716"/>
                    </a:lnTo>
                    <a:lnTo>
                      <a:pt x="1090" y="423"/>
                    </a:lnTo>
                    <a:lnTo>
                      <a:pt x="849" y="352"/>
                    </a:lnTo>
                    <a:close/>
                    <a:moveTo>
                      <a:pt x="553" y="262"/>
                    </a:moveTo>
                    <a:lnTo>
                      <a:pt x="553" y="521"/>
                    </a:lnTo>
                    <a:lnTo>
                      <a:pt x="763" y="596"/>
                    </a:lnTo>
                    <a:lnTo>
                      <a:pt x="763" y="325"/>
                    </a:lnTo>
                    <a:lnTo>
                      <a:pt x="553" y="262"/>
                    </a:lnTo>
                    <a:close/>
                    <a:moveTo>
                      <a:pt x="297" y="190"/>
                    </a:moveTo>
                    <a:lnTo>
                      <a:pt x="297" y="432"/>
                    </a:lnTo>
                    <a:lnTo>
                      <a:pt x="481" y="498"/>
                    </a:lnTo>
                    <a:lnTo>
                      <a:pt x="481" y="245"/>
                    </a:lnTo>
                    <a:lnTo>
                      <a:pt x="297" y="190"/>
                    </a:lnTo>
                    <a:close/>
                    <a:moveTo>
                      <a:pt x="64" y="116"/>
                    </a:moveTo>
                    <a:lnTo>
                      <a:pt x="64" y="344"/>
                    </a:lnTo>
                    <a:lnTo>
                      <a:pt x="225" y="402"/>
                    </a:lnTo>
                    <a:lnTo>
                      <a:pt x="225" y="165"/>
                    </a:lnTo>
                    <a:lnTo>
                      <a:pt x="64" y="116"/>
                    </a:lnTo>
                    <a:close/>
                    <a:moveTo>
                      <a:pt x="0" y="0"/>
                    </a:moveTo>
                    <a:lnTo>
                      <a:pt x="1558" y="421"/>
                    </a:lnTo>
                    <a:lnTo>
                      <a:pt x="1558" y="1683"/>
                    </a:lnTo>
                    <a:lnTo>
                      <a:pt x="0" y="88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75"/>
              <p:cNvSpPr>
                <a:spLocks/>
              </p:cNvSpPr>
              <p:nvPr/>
            </p:nvSpPr>
            <p:spPr bwMode="auto">
              <a:xfrm>
                <a:off x="-2300288" y="2239963"/>
                <a:ext cx="1836738" cy="652463"/>
              </a:xfrm>
              <a:custGeom>
                <a:avLst/>
                <a:gdLst>
                  <a:gd name="T0" fmla="*/ 0 w 3471"/>
                  <a:gd name="T1" fmla="*/ 0 h 1232"/>
                  <a:gd name="T2" fmla="*/ 1782 w 3471"/>
                  <a:gd name="T3" fmla="*/ 954 h 1232"/>
                  <a:gd name="T4" fmla="*/ 3471 w 3471"/>
                  <a:gd name="T5" fmla="*/ 50 h 1232"/>
                  <a:gd name="T6" fmla="*/ 3471 w 3471"/>
                  <a:gd name="T7" fmla="*/ 237 h 1232"/>
                  <a:gd name="T8" fmla="*/ 1786 w 3471"/>
                  <a:gd name="T9" fmla="*/ 1230 h 1232"/>
                  <a:gd name="T10" fmla="*/ 1786 w 3471"/>
                  <a:gd name="T11" fmla="*/ 1232 h 1232"/>
                  <a:gd name="T12" fmla="*/ 1784 w 3471"/>
                  <a:gd name="T13" fmla="*/ 1231 h 1232"/>
                  <a:gd name="T14" fmla="*/ 1782 w 3471"/>
                  <a:gd name="T15" fmla="*/ 1231 h 1232"/>
                  <a:gd name="T16" fmla="*/ 1782 w 3471"/>
                  <a:gd name="T17" fmla="*/ 1230 h 1232"/>
                  <a:gd name="T18" fmla="*/ 0 w 3471"/>
                  <a:gd name="T19" fmla="*/ 179 h 1232"/>
                  <a:gd name="T20" fmla="*/ 0 w 3471"/>
                  <a:gd name="T21" fmla="*/ 0 h 1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71" h="1232">
                    <a:moveTo>
                      <a:pt x="0" y="0"/>
                    </a:moveTo>
                    <a:lnTo>
                      <a:pt x="1782" y="954"/>
                    </a:lnTo>
                    <a:lnTo>
                      <a:pt x="3471" y="50"/>
                    </a:lnTo>
                    <a:lnTo>
                      <a:pt x="3471" y="237"/>
                    </a:lnTo>
                    <a:lnTo>
                      <a:pt x="1786" y="1230"/>
                    </a:lnTo>
                    <a:lnTo>
                      <a:pt x="1786" y="1232"/>
                    </a:lnTo>
                    <a:lnTo>
                      <a:pt x="1784" y="1231"/>
                    </a:lnTo>
                    <a:lnTo>
                      <a:pt x="1782" y="1231"/>
                    </a:lnTo>
                    <a:lnTo>
                      <a:pt x="1782" y="1230"/>
                    </a:lnTo>
                    <a:lnTo>
                      <a:pt x="0" y="1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31" name="TextBox 130"/>
            <p:cNvSpPr txBox="1"/>
            <p:nvPr/>
          </p:nvSpPr>
          <p:spPr>
            <a:xfrm>
              <a:off x="1773188" y="3475101"/>
              <a:ext cx="114681" cy="298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b="1" dirty="0" smtClean="0">
                  <a:ln w="3175">
                    <a:solidFill>
                      <a:schemeClr val="tx2"/>
                    </a:solidFill>
                  </a:ln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4118598" y="3953188"/>
            <a:ext cx="1349873" cy="438490"/>
            <a:chOff x="615111" y="5434954"/>
            <a:chExt cx="1973806" cy="647881"/>
          </a:xfrm>
        </p:grpSpPr>
        <p:sp>
          <p:nvSpPr>
            <p:cNvPr id="153" name="Freeform 8"/>
            <p:cNvSpPr>
              <a:spLocks/>
            </p:cNvSpPr>
            <p:nvPr/>
          </p:nvSpPr>
          <p:spPr bwMode="auto">
            <a:xfrm>
              <a:off x="727893" y="5677461"/>
              <a:ext cx="40648" cy="1176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96"/>
                </a:cxn>
                <a:cxn ang="0">
                  <a:pos x="130" y="396"/>
                </a:cxn>
                <a:cxn ang="0">
                  <a:pos x="130" y="52"/>
                </a:cxn>
                <a:cxn ang="0">
                  <a:pos x="0" y="0"/>
                </a:cxn>
              </a:cxnLst>
              <a:rect l="0" t="0" r="r" b="b"/>
              <a:pathLst>
                <a:path w="130" h="396">
                  <a:moveTo>
                    <a:pt x="0" y="0"/>
                  </a:moveTo>
                  <a:lnTo>
                    <a:pt x="0" y="396"/>
                  </a:lnTo>
                  <a:lnTo>
                    <a:pt x="130" y="396"/>
                  </a:lnTo>
                  <a:lnTo>
                    <a:pt x="13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/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912222" y="5711685"/>
              <a:ext cx="1676695" cy="1417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sz="800" dirty="0" smtClean="0">
                  <a:solidFill>
                    <a:srgbClr val="FFFFFF"/>
                  </a:solidFill>
                </a:rPr>
                <a:t>Sorting </a:t>
              </a:r>
              <a:r>
                <a:rPr lang="en-US" sz="800" dirty="0" err="1" smtClean="0">
                  <a:solidFill>
                    <a:srgbClr val="FFFFFF"/>
                  </a:solidFill>
                </a:rPr>
                <a:t>hu</a:t>
              </a:r>
              <a:r>
                <a:rPr lang="pl-PL" sz="800" dirty="0" smtClean="0">
                  <a:solidFill>
                    <a:srgbClr val="FFFFFF"/>
                  </a:solidFill>
                </a:rPr>
                <a:t>b</a:t>
              </a:r>
              <a:endParaRPr lang="en-US" sz="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630636" y="5434954"/>
              <a:ext cx="1047932" cy="1818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46175"/>
              <a:r>
                <a:rPr lang="en-US" sz="800" b="1" dirty="0" smtClean="0">
                  <a:solidFill>
                    <a:srgbClr val="FFFFFF"/>
                  </a:solidFill>
                  <a:cs typeface="Arial" pitchFamily="34" charset="0"/>
                </a:rPr>
                <a:t>Legend</a:t>
              </a:r>
              <a:endParaRPr lang="en-US" sz="800" b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41" name="Oval 140"/>
            <p:cNvSpPr/>
            <p:nvPr/>
          </p:nvSpPr>
          <p:spPr bwMode="ltGray">
            <a:xfrm>
              <a:off x="672521" y="5941307"/>
              <a:ext cx="92800" cy="935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317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912222" y="5900936"/>
              <a:ext cx="1453865" cy="181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46175"/>
              <a:r>
                <a:rPr lang="en-US" sz="800" dirty="0" smtClean="0">
                  <a:solidFill>
                    <a:srgbClr val="FFFFFF"/>
                  </a:solidFill>
                  <a:cs typeface="Arial" pitchFamily="34" charset="0"/>
                </a:rPr>
                <a:t>Depo</a:t>
              </a:r>
              <a:r>
                <a:rPr lang="pl-PL" sz="800" dirty="0" smtClean="0">
                  <a:solidFill>
                    <a:srgbClr val="FFFFFF"/>
                  </a:solidFill>
                  <a:cs typeface="Arial" pitchFamily="34" charset="0"/>
                </a:rPr>
                <a:t>t</a:t>
              </a:r>
              <a:endParaRPr lang="en-US" sz="80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grpSp>
          <p:nvGrpSpPr>
            <p:cNvPr id="143" name="Group 142"/>
            <p:cNvGrpSpPr/>
            <p:nvPr/>
          </p:nvGrpSpPr>
          <p:grpSpPr>
            <a:xfrm>
              <a:off x="615111" y="5670138"/>
              <a:ext cx="216888" cy="218625"/>
              <a:chOff x="-1096471" y="2659555"/>
              <a:chExt cx="490045" cy="490045"/>
            </a:xfrm>
          </p:grpSpPr>
          <p:sp>
            <p:nvSpPr>
              <p:cNvPr id="144" name="Oval 143"/>
              <p:cNvSpPr/>
              <p:nvPr/>
            </p:nvSpPr>
            <p:spPr bwMode="ltGray">
              <a:xfrm>
                <a:off x="-1096471" y="2659555"/>
                <a:ext cx="490045" cy="490045"/>
              </a:xfrm>
              <a:prstGeom prst="ellipse">
                <a:avLst/>
              </a:prstGeom>
              <a:solidFill>
                <a:schemeClr val="tx2"/>
              </a:solidFill>
              <a:ln w="31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45" name="Group 144"/>
              <p:cNvGrpSpPr/>
              <p:nvPr/>
            </p:nvGrpSpPr>
            <p:grpSpPr>
              <a:xfrm>
                <a:off x="-1054865" y="2786306"/>
                <a:ext cx="406833" cy="284115"/>
                <a:chOff x="-2300288" y="1609725"/>
                <a:chExt cx="1836738" cy="1282701"/>
              </a:xfrm>
              <a:solidFill>
                <a:schemeClr val="bg1"/>
              </a:solidFill>
            </p:grpSpPr>
            <p:sp>
              <p:nvSpPr>
                <p:cNvPr id="146" name="Freeform 71"/>
                <p:cNvSpPr>
                  <a:spLocks/>
                </p:cNvSpPr>
                <p:nvPr/>
              </p:nvSpPr>
              <p:spPr bwMode="auto">
                <a:xfrm>
                  <a:off x="-1493838" y="1663700"/>
                  <a:ext cx="823913" cy="209550"/>
                </a:xfrm>
                <a:custGeom>
                  <a:avLst/>
                  <a:gdLst>
                    <a:gd name="T0" fmla="*/ 0 w 1555"/>
                    <a:gd name="T1" fmla="*/ 0 h 397"/>
                    <a:gd name="T2" fmla="*/ 1555 w 1555"/>
                    <a:gd name="T3" fmla="*/ 32 h 397"/>
                    <a:gd name="T4" fmla="*/ 1176 w 1555"/>
                    <a:gd name="T5" fmla="*/ 397 h 397"/>
                    <a:gd name="T6" fmla="*/ 687 w 1555"/>
                    <a:gd name="T7" fmla="*/ 85 h 397"/>
                    <a:gd name="T8" fmla="*/ 0 w 1555"/>
                    <a:gd name="T9" fmla="*/ 0 h 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55" h="397">
                      <a:moveTo>
                        <a:pt x="0" y="0"/>
                      </a:moveTo>
                      <a:lnTo>
                        <a:pt x="1555" y="32"/>
                      </a:lnTo>
                      <a:lnTo>
                        <a:pt x="1176" y="397"/>
                      </a:lnTo>
                      <a:lnTo>
                        <a:pt x="687" y="8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47" name="Freeform 72"/>
                <p:cNvSpPr>
                  <a:spLocks/>
                </p:cNvSpPr>
                <p:nvPr/>
              </p:nvSpPr>
              <p:spPr bwMode="auto">
                <a:xfrm>
                  <a:off x="-2189163" y="1609725"/>
                  <a:ext cx="1031875" cy="395288"/>
                </a:xfrm>
                <a:custGeom>
                  <a:avLst/>
                  <a:gdLst>
                    <a:gd name="T0" fmla="*/ 390 w 1950"/>
                    <a:gd name="T1" fmla="*/ 0 h 747"/>
                    <a:gd name="T2" fmla="*/ 1950 w 1950"/>
                    <a:gd name="T3" fmla="*/ 214 h 747"/>
                    <a:gd name="T4" fmla="*/ 1570 w 1950"/>
                    <a:gd name="T5" fmla="*/ 747 h 747"/>
                    <a:gd name="T6" fmla="*/ 0 w 1950"/>
                    <a:gd name="T7" fmla="*/ 329 h 747"/>
                    <a:gd name="T8" fmla="*/ 390 w 1950"/>
                    <a:gd name="T9" fmla="*/ 0 h 7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50" h="747">
                      <a:moveTo>
                        <a:pt x="390" y="0"/>
                      </a:moveTo>
                      <a:lnTo>
                        <a:pt x="1950" y="214"/>
                      </a:lnTo>
                      <a:lnTo>
                        <a:pt x="1570" y="747"/>
                      </a:lnTo>
                      <a:lnTo>
                        <a:pt x="0" y="329"/>
                      </a:lnTo>
                      <a:lnTo>
                        <a:pt x="39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48" name="Freeform 73"/>
                <p:cNvSpPr>
                  <a:spLocks noEditPoints="1"/>
                </p:cNvSpPr>
                <p:nvPr/>
              </p:nvSpPr>
              <p:spPr bwMode="auto">
                <a:xfrm>
                  <a:off x="-1338263" y="1681163"/>
                  <a:ext cx="806450" cy="1016000"/>
                </a:xfrm>
                <a:custGeom>
                  <a:avLst/>
                  <a:gdLst>
                    <a:gd name="T0" fmla="*/ 735 w 1526"/>
                    <a:gd name="T1" fmla="*/ 1201 h 1921"/>
                    <a:gd name="T2" fmla="*/ 185 w 1526"/>
                    <a:gd name="T3" fmla="*/ 1451 h 1921"/>
                    <a:gd name="T4" fmla="*/ 185 w 1526"/>
                    <a:gd name="T5" fmla="*/ 1523 h 1921"/>
                    <a:gd name="T6" fmla="*/ 735 w 1526"/>
                    <a:gd name="T7" fmla="*/ 1265 h 1921"/>
                    <a:gd name="T8" fmla="*/ 735 w 1526"/>
                    <a:gd name="T9" fmla="*/ 1201 h 1921"/>
                    <a:gd name="T10" fmla="*/ 735 w 1526"/>
                    <a:gd name="T11" fmla="*/ 1103 h 1921"/>
                    <a:gd name="T12" fmla="*/ 185 w 1526"/>
                    <a:gd name="T13" fmla="*/ 1340 h 1921"/>
                    <a:gd name="T14" fmla="*/ 185 w 1526"/>
                    <a:gd name="T15" fmla="*/ 1413 h 1921"/>
                    <a:gd name="T16" fmla="*/ 735 w 1526"/>
                    <a:gd name="T17" fmla="*/ 1167 h 1921"/>
                    <a:gd name="T18" fmla="*/ 735 w 1526"/>
                    <a:gd name="T19" fmla="*/ 1103 h 1921"/>
                    <a:gd name="T20" fmla="*/ 735 w 1526"/>
                    <a:gd name="T21" fmla="*/ 999 h 1921"/>
                    <a:gd name="T22" fmla="*/ 185 w 1526"/>
                    <a:gd name="T23" fmla="*/ 1225 h 1921"/>
                    <a:gd name="T24" fmla="*/ 185 w 1526"/>
                    <a:gd name="T25" fmla="*/ 1296 h 1921"/>
                    <a:gd name="T26" fmla="*/ 735 w 1526"/>
                    <a:gd name="T27" fmla="*/ 1063 h 1921"/>
                    <a:gd name="T28" fmla="*/ 735 w 1526"/>
                    <a:gd name="T29" fmla="*/ 999 h 1921"/>
                    <a:gd name="T30" fmla="*/ 1420 w 1526"/>
                    <a:gd name="T31" fmla="*/ 898 h 1921"/>
                    <a:gd name="T32" fmla="*/ 1037 w 1526"/>
                    <a:gd name="T33" fmla="*/ 1073 h 1921"/>
                    <a:gd name="T34" fmla="*/ 1037 w 1526"/>
                    <a:gd name="T35" fmla="*/ 1132 h 1921"/>
                    <a:gd name="T36" fmla="*/ 1420 w 1526"/>
                    <a:gd name="T37" fmla="*/ 952 h 1921"/>
                    <a:gd name="T38" fmla="*/ 1420 w 1526"/>
                    <a:gd name="T39" fmla="*/ 898 h 1921"/>
                    <a:gd name="T40" fmla="*/ 735 w 1526"/>
                    <a:gd name="T41" fmla="*/ 889 h 1921"/>
                    <a:gd name="T42" fmla="*/ 185 w 1526"/>
                    <a:gd name="T43" fmla="*/ 1100 h 1921"/>
                    <a:gd name="T44" fmla="*/ 185 w 1526"/>
                    <a:gd name="T45" fmla="*/ 1172 h 1921"/>
                    <a:gd name="T46" fmla="*/ 735 w 1526"/>
                    <a:gd name="T47" fmla="*/ 953 h 1921"/>
                    <a:gd name="T48" fmla="*/ 735 w 1526"/>
                    <a:gd name="T49" fmla="*/ 889 h 1921"/>
                    <a:gd name="T50" fmla="*/ 1420 w 1526"/>
                    <a:gd name="T51" fmla="*/ 815 h 1921"/>
                    <a:gd name="T52" fmla="*/ 1037 w 1526"/>
                    <a:gd name="T53" fmla="*/ 981 h 1921"/>
                    <a:gd name="T54" fmla="*/ 1037 w 1526"/>
                    <a:gd name="T55" fmla="*/ 1041 h 1921"/>
                    <a:gd name="T56" fmla="*/ 1420 w 1526"/>
                    <a:gd name="T57" fmla="*/ 869 h 1921"/>
                    <a:gd name="T58" fmla="*/ 1420 w 1526"/>
                    <a:gd name="T59" fmla="*/ 815 h 1921"/>
                    <a:gd name="T60" fmla="*/ 1420 w 1526"/>
                    <a:gd name="T61" fmla="*/ 729 h 1921"/>
                    <a:gd name="T62" fmla="*/ 1037 w 1526"/>
                    <a:gd name="T63" fmla="*/ 885 h 1921"/>
                    <a:gd name="T64" fmla="*/ 1037 w 1526"/>
                    <a:gd name="T65" fmla="*/ 945 h 1921"/>
                    <a:gd name="T66" fmla="*/ 1420 w 1526"/>
                    <a:gd name="T67" fmla="*/ 782 h 1921"/>
                    <a:gd name="T68" fmla="*/ 1420 w 1526"/>
                    <a:gd name="T69" fmla="*/ 729 h 1921"/>
                    <a:gd name="T70" fmla="*/ 1420 w 1526"/>
                    <a:gd name="T71" fmla="*/ 636 h 1921"/>
                    <a:gd name="T72" fmla="*/ 1037 w 1526"/>
                    <a:gd name="T73" fmla="*/ 782 h 1921"/>
                    <a:gd name="T74" fmla="*/ 1037 w 1526"/>
                    <a:gd name="T75" fmla="*/ 842 h 1921"/>
                    <a:gd name="T76" fmla="*/ 1420 w 1526"/>
                    <a:gd name="T77" fmla="*/ 689 h 1921"/>
                    <a:gd name="T78" fmla="*/ 1420 w 1526"/>
                    <a:gd name="T79" fmla="*/ 636 h 1921"/>
                    <a:gd name="T80" fmla="*/ 1303 w 1526"/>
                    <a:gd name="T81" fmla="*/ 0 h 1921"/>
                    <a:gd name="T82" fmla="*/ 1526 w 1526"/>
                    <a:gd name="T83" fmla="*/ 230 h 1921"/>
                    <a:gd name="T84" fmla="*/ 1526 w 1526"/>
                    <a:gd name="T85" fmla="*/ 1125 h 1921"/>
                    <a:gd name="T86" fmla="*/ 0 w 1526"/>
                    <a:gd name="T87" fmla="*/ 1921 h 1921"/>
                    <a:gd name="T88" fmla="*/ 0 w 1526"/>
                    <a:gd name="T89" fmla="*/ 654 h 1921"/>
                    <a:gd name="T90" fmla="*/ 389 w 1526"/>
                    <a:gd name="T91" fmla="*/ 92 h 1921"/>
                    <a:gd name="T92" fmla="*/ 890 w 1526"/>
                    <a:gd name="T93" fmla="*/ 408 h 1921"/>
                    <a:gd name="T94" fmla="*/ 1303 w 1526"/>
                    <a:gd name="T95" fmla="*/ 0 h 19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526" h="1921">
                      <a:moveTo>
                        <a:pt x="735" y="1201"/>
                      </a:moveTo>
                      <a:lnTo>
                        <a:pt x="185" y="1451"/>
                      </a:lnTo>
                      <a:lnTo>
                        <a:pt x="185" y="1523"/>
                      </a:lnTo>
                      <a:lnTo>
                        <a:pt x="735" y="1265"/>
                      </a:lnTo>
                      <a:lnTo>
                        <a:pt x="735" y="1201"/>
                      </a:lnTo>
                      <a:close/>
                      <a:moveTo>
                        <a:pt x="735" y="1103"/>
                      </a:moveTo>
                      <a:lnTo>
                        <a:pt x="185" y="1340"/>
                      </a:lnTo>
                      <a:lnTo>
                        <a:pt x="185" y="1413"/>
                      </a:lnTo>
                      <a:lnTo>
                        <a:pt x="735" y="1167"/>
                      </a:lnTo>
                      <a:lnTo>
                        <a:pt x="735" y="1103"/>
                      </a:lnTo>
                      <a:close/>
                      <a:moveTo>
                        <a:pt x="735" y="999"/>
                      </a:moveTo>
                      <a:lnTo>
                        <a:pt x="185" y="1225"/>
                      </a:lnTo>
                      <a:lnTo>
                        <a:pt x="185" y="1296"/>
                      </a:lnTo>
                      <a:lnTo>
                        <a:pt x="735" y="1063"/>
                      </a:lnTo>
                      <a:lnTo>
                        <a:pt x="735" y="999"/>
                      </a:lnTo>
                      <a:close/>
                      <a:moveTo>
                        <a:pt x="1420" y="898"/>
                      </a:moveTo>
                      <a:lnTo>
                        <a:pt x="1037" y="1073"/>
                      </a:lnTo>
                      <a:lnTo>
                        <a:pt x="1037" y="1132"/>
                      </a:lnTo>
                      <a:lnTo>
                        <a:pt x="1420" y="952"/>
                      </a:lnTo>
                      <a:lnTo>
                        <a:pt x="1420" y="898"/>
                      </a:lnTo>
                      <a:close/>
                      <a:moveTo>
                        <a:pt x="735" y="889"/>
                      </a:moveTo>
                      <a:lnTo>
                        <a:pt x="185" y="1100"/>
                      </a:lnTo>
                      <a:lnTo>
                        <a:pt x="185" y="1172"/>
                      </a:lnTo>
                      <a:lnTo>
                        <a:pt x="735" y="953"/>
                      </a:lnTo>
                      <a:lnTo>
                        <a:pt x="735" y="889"/>
                      </a:lnTo>
                      <a:close/>
                      <a:moveTo>
                        <a:pt x="1420" y="815"/>
                      </a:moveTo>
                      <a:lnTo>
                        <a:pt x="1037" y="981"/>
                      </a:lnTo>
                      <a:lnTo>
                        <a:pt x="1037" y="1041"/>
                      </a:lnTo>
                      <a:lnTo>
                        <a:pt x="1420" y="869"/>
                      </a:lnTo>
                      <a:lnTo>
                        <a:pt x="1420" y="815"/>
                      </a:lnTo>
                      <a:close/>
                      <a:moveTo>
                        <a:pt x="1420" y="729"/>
                      </a:moveTo>
                      <a:lnTo>
                        <a:pt x="1037" y="885"/>
                      </a:lnTo>
                      <a:lnTo>
                        <a:pt x="1037" y="945"/>
                      </a:lnTo>
                      <a:lnTo>
                        <a:pt x="1420" y="782"/>
                      </a:lnTo>
                      <a:lnTo>
                        <a:pt x="1420" y="729"/>
                      </a:lnTo>
                      <a:close/>
                      <a:moveTo>
                        <a:pt x="1420" y="636"/>
                      </a:moveTo>
                      <a:lnTo>
                        <a:pt x="1037" y="782"/>
                      </a:lnTo>
                      <a:lnTo>
                        <a:pt x="1037" y="842"/>
                      </a:lnTo>
                      <a:lnTo>
                        <a:pt x="1420" y="689"/>
                      </a:lnTo>
                      <a:lnTo>
                        <a:pt x="1420" y="636"/>
                      </a:lnTo>
                      <a:close/>
                      <a:moveTo>
                        <a:pt x="1303" y="0"/>
                      </a:moveTo>
                      <a:lnTo>
                        <a:pt x="1526" y="230"/>
                      </a:lnTo>
                      <a:lnTo>
                        <a:pt x="1526" y="1125"/>
                      </a:lnTo>
                      <a:lnTo>
                        <a:pt x="0" y="1921"/>
                      </a:lnTo>
                      <a:lnTo>
                        <a:pt x="0" y="654"/>
                      </a:lnTo>
                      <a:lnTo>
                        <a:pt x="389" y="92"/>
                      </a:lnTo>
                      <a:lnTo>
                        <a:pt x="890" y="408"/>
                      </a:lnTo>
                      <a:lnTo>
                        <a:pt x="13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49" name="Freeform 74"/>
                <p:cNvSpPr>
                  <a:spLocks noEditPoints="1"/>
                </p:cNvSpPr>
                <p:nvPr/>
              </p:nvSpPr>
              <p:spPr bwMode="auto">
                <a:xfrm>
                  <a:off x="-2193925" y="1804988"/>
                  <a:ext cx="823913" cy="890588"/>
                </a:xfrm>
                <a:custGeom>
                  <a:avLst/>
                  <a:gdLst>
                    <a:gd name="T0" fmla="*/ 1188 w 1558"/>
                    <a:gd name="T1" fmla="*/ 446 h 1683"/>
                    <a:gd name="T2" fmla="*/ 1188 w 1558"/>
                    <a:gd name="T3" fmla="*/ 745 h 1683"/>
                    <a:gd name="T4" fmla="*/ 1470 w 1558"/>
                    <a:gd name="T5" fmla="*/ 847 h 1683"/>
                    <a:gd name="T6" fmla="*/ 1470 w 1558"/>
                    <a:gd name="T7" fmla="*/ 530 h 1683"/>
                    <a:gd name="T8" fmla="*/ 1188 w 1558"/>
                    <a:gd name="T9" fmla="*/ 446 h 1683"/>
                    <a:gd name="T10" fmla="*/ 849 w 1558"/>
                    <a:gd name="T11" fmla="*/ 352 h 1683"/>
                    <a:gd name="T12" fmla="*/ 849 w 1558"/>
                    <a:gd name="T13" fmla="*/ 628 h 1683"/>
                    <a:gd name="T14" fmla="*/ 1090 w 1558"/>
                    <a:gd name="T15" fmla="*/ 716 h 1683"/>
                    <a:gd name="T16" fmla="*/ 1090 w 1558"/>
                    <a:gd name="T17" fmla="*/ 423 h 1683"/>
                    <a:gd name="T18" fmla="*/ 849 w 1558"/>
                    <a:gd name="T19" fmla="*/ 352 h 1683"/>
                    <a:gd name="T20" fmla="*/ 553 w 1558"/>
                    <a:gd name="T21" fmla="*/ 262 h 1683"/>
                    <a:gd name="T22" fmla="*/ 553 w 1558"/>
                    <a:gd name="T23" fmla="*/ 521 h 1683"/>
                    <a:gd name="T24" fmla="*/ 763 w 1558"/>
                    <a:gd name="T25" fmla="*/ 596 h 1683"/>
                    <a:gd name="T26" fmla="*/ 763 w 1558"/>
                    <a:gd name="T27" fmla="*/ 325 h 1683"/>
                    <a:gd name="T28" fmla="*/ 553 w 1558"/>
                    <a:gd name="T29" fmla="*/ 262 h 1683"/>
                    <a:gd name="T30" fmla="*/ 297 w 1558"/>
                    <a:gd name="T31" fmla="*/ 190 h 1683"/>
                    <a:gd name="T32" fmla="*/ 297 w 1558"/>
                    <a:gd name="T33" fmla="*/ 432 h 1683"/>
                    <a:gd name="T34" fmla="*/ 481 w 1558"/>
                    <a:gd name="T35" fmla="*/ 498 h 1683"/>
                    <a:gd name="T36" fmla="*/ 481 w 1558"/>
                    <a:gd name="T37" fmla="*/ 245 h 1683"/>
                    <a:gd name="T38" fmla="*/ 297 w 1558"/>
                    <a:gd name="T39" fmla="*/ 190 h 1683"/>
                    <a:gd name="T40" fmla="*/ 64 w 1558"/>
                    <a:gd name="T41" fmla="*/ 116 h 1683"/>
                    <a:gd name="T42" fmla="*/ 64 w 1558"/>
                    <a:gd name="T43" fmla="*/ 344 h 1683"/>
                    <a:gd name="T44" fmla="*/ 225 w 1558"/>
                    <a:gd name="T45" fmla="*/ 402 h 1683"/>
                    <a:gd name="T46" fmla="*/ 225 w 1558"/>
                    <a:gd name="T47" fmla="*/ 165 h 1683"/>
                    <a:gd name="T48" fmla="*/ 64 w 1558"/>
                    <a:gd name="T49" fmla="*/ 116 h 1683"/>
                    <a:gd name="T50" fmla="*/ 0 w 1558"/>
                    <a:gd name="T51" fmla="*/ 0 h 1683"/>
                    <a:gd name="T52" fmla="*/ 1558 w 1558"/>
                    <a:gd name="T53" fmla="*/ 421 h 1683"/>
                    <a:gd name="T54" fmla="*/ 1558 w 1558"/>
                    <a:gd name="T55" fmla="*/ 1683 h 1683"/>
                    <a:gd name="T56" fmla="*/ 0 w 1558"/>
                    <a:gd name="T57" fmla="*/ 884 h 1683"/>
                    <a:gd name="T58" fmla="*/ 0 w 1558"/>
                    <a:gd name="T59" fmla="*/ 0 h 16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558" h="1683">
                      <a:moveTo>
                        <a:pt x="1188" y="446"/>
                      </a:moveTo>
                      <a:lnTo>
                        <a:pt x="1188" y="745"/>
                      </a:lnTo>
                      <a:lnTo>
                        <a:pt x="1470" y="847"/>
                      </a:lnTo>
                      <a:lnTo>
                        <a:pt x="1470" y="530"/>
                      </a:lnTo>
                      <a:lnTo>
                        <a:pt x="1188" y="446"/>
                      </a:lnTo>
                      <a:close/>
                      <a:moveTo>
                        <a:pt x="849" y="352"/>
                      </a:moveTo>
                      <a:lnTo>
                        <a:pt x="849" y="628"/>
                      </a:lnTo>
                      <a:lnTo>
                        <a:pt x="1090" y="716"/>
                      </a:lnTo>
                      <a:lnTo>
                        <a:pt x="1090" y="423"/>
                      </a:lnTo>
                      <a:lnTo>
                        <a:pt x="849" y="352"/>
                      </a:lnTo>
                      <a:close/>
                      <a:moveTo>
                        <a:pt x="553" y="262"/>
                      </a:moveTo>
                      <a:lnTo>
                        <a:pt x="553" y="521"/>
                      </a:lnTo>
                      <a:lnTo>
                        <a:pt x="763" y="596"/>
                      </a:lnTo>
                      <a:lnTo>
                        <a:pt x="763" y="325"/>
                      </a:lnTo>
                      <a:lnTo>
                        <a:pt x="553" y="262"/>
                      </a:lnTo>
                      <a:close/>
                      <a:moveTo>
                        <a:pt x="297" y="190"/>
                      </a:moveTo>
                      <a:lnTo>
                        <a:pt x="297" y="432"/>
                      </a:lnTo>
                      <a:lnTo>
                        <a:pt x="481" y="498"/>
                      </a:lnTo>
                      <a:lnTo>
                        <a:pt x="481" y="245"/>
                      </a:lnTo>
                      <a:lnTo>
                        <a:pt x="297" y="190"/>
                      </a:lnTo>
                      <a:close/>
                      <a:moveTo>
                        <a:pt x="64" y="116"/>
                      </a:moveTo>
                      <a:lnTo>
                        <a:pt x="64" y="344"/>
                      </a:lnTo>
                      <a:lnTo>
                        <a:pt x="225" y="402"/>
                      </a:lnTo>
                      <a:lnTo>
                        <a:pt x="225" y="165"/>
                      </a:lnTo>
                      <a:lnTo>
                        <a:pt x="64" y="116"/>
                      </a:lnTo>
                      <a:close/>
                      <a:moveTo>
                        <a:pt x="0" y="0"/>
                      </a:moveTo>
                      <a:lnTo>
                        <a:pt x="1558" y="421"/>
                      </a:lnTo>
                      <a:lnTo>
                        <a:pt x="1558" y="1683"/>
                      </a:lnTo>
                      <a:lnTo>
                        <a:pt x="0" y="88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50" name="Freeform 75"/>
                <p:cNvSpPr>
                  <a:spLocks/>
                </p:cNvSpPr>
                <p:nvPr/>
              </p:nvSpPr>
              <p:spPr bwMode="auto">
                <a:xfrm>
                  <a:off x="-2300288" y="2239963"/>
                  <a:ext cx="1836738" cy="652463"/>
                </a:xfrm>
                <a:custGeom>
                  <a:avLst/>
                  <a:gdLst>
                    <a:gd name="T0" fmla="*/ 0 w 3471"/>
                    <a:gd name="T1" fmla="*/ 0 h 1232"/>
                    <a:gd name="T2" fmla="*/ 1782 w 3471"/>
                    <a:gd name="T3" fmla="*/ 954 h 1232"/>
                    <a:gd name="T4" fmla="*/ 3471 w 3471"/>
                    <a:gd name="T5" fmla="*/ 50 h 1232"/>
                    <a:gd name="T6" fmla="*/ 3471 w 3471"/>
                    <a:gd name="T7" fmla="*/ 237 h 1232"/>
                    <a:gd name="T8" fmla="*/ 1786 w 3471"/>
                    <a:gd name="T9" fmla="*/ 1230 h 1232"/>
                    <a:gd name="T10" fmla="*/ 1786 w 3471"/>
                    <a:gd name="T11" fmla="*/ 1232 h 1232"/>
                    <a:gd name="T12" fmla="*/ 1784 w 3471"/>
                    <a:gd name="T13" fmla="*/ 1231 h 1232"/>
                    <a:gd name="T14" fmla="*/ 1782 w 3471"/>
                    <a:gd name="T15" fmla="*/ 1231 h 1232"/>
                    <a:gd name="T16" fmla="*/ 1782 w 3471"/>
                    <a:gd name="T17" fmla="*/ 1230 h 1232"/>
                    <a:gd name="T18" fmla="*/ 0 w 3471"/>
                    <a:gd name="T19" fmla="*/ 179 h 1232"/>
                    <a:gd name="T20" fmla="*/ 0 w 3471"/>
                    <a:gd name="T21" fmla="*/ 0 h 1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471" h="1232">
                      <a:moveTo>
                        <a:pt x="0" y="0"/>
                      </a:moveTo>
                      <a:lnTo>
                        <a:pt x="1782" y="954"/>
                      </a:lnTo>
                      <a:lnTo>
                        <a:pt x="3471" y="50"/>
                      </a:lnTo>
                      <a:lnTo>
                        <a:pt x="3471" y="237"/>
                      </a:lnTo>
                      <a:lnTo>
                        <a:pt x="1786" y="1230"/>
                      </a:lnTo>
                      <a:lnTo>
                        <a:pt x="1786" y="1232"/>
                      </a:lnTo>
                      <a:lnTo>
                        <a:pt x="1784" y="1231"/>
                      </a:lnTo>
                      <a:lnTo>
                        <a:pt x="1782" y="1231"/>
                      </a:lnTo>
                      <a:lnTo>
                        <a:pt x="1782" y="1230"/>
                      </a:lnTo>
                      <a:lnTo>
                        <a:pt x="0" y="17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</p:grpSp>
      </p:grpSp>
      <p:sp>
        <p:nvSpPr>
          <p:cNvPr id="2" name="Left-Right Arrow 1"/>
          <p:cNvSpPr/>
          <p:nvPr/>
        </p:nvSpPr>
        <p:spPr bwMode="ltGray">
          <a:xfrm>
            <a:off x="4087974" y="2611758"/>
            <a:ext cx="922217" cy="947746"/>
          </a:xfrm>
          <a:prstGeom prst="leftRightArrow">
            <a:avLst>
              <a:gd name="adj1" fmla="val 50000"/>
              <a:gd name="adj2" fmla="val 26353"/>
            </a:avLst>
          </a:prstGeom>
          <a:solidFill>
            <a:schemeClr val="accent5">
              <a:lumMod val="40000"/>
              <a:lumOff val="60000"/>
            </a:schemeClr>
          </a:solidFill>
          <a:ln w="3175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78" name="Pentagon 177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546741" y="4747169"/>
            <a:ext cx="8004682" cy="1545652"/>
          </a:xfrm>
          <a:prstGeom prst="homePlate">
            <a:avLst>
              <a:gd name="adj" fmla="val 0"/>
            </a:avLst>
          </a:prstGeom>
          <a:solidFill>
            <a:srgbClr val="EE8C82"/>
          </a:solidFill>
          <a:ln w="9525">
            <a:noFill/>
            <a:round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432000" tIns="36000" rIns="648000" bIns="36000" anchor="ctr"/>
          <a:lstStyle/>
          <a:p>
            <a:pPr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+mj-lt"/>
              </a:rPr>
              <a:t>Wynikiem analizy jest znalezienie kształtu sieci z takimi funkcjami nadrzędnych i podrzędnych elementów, które są optymalne kosztowo, przy uwzględnieniu założeń dot. max/min przepustowości, terminowości oraz stopnia wykorzystania istniejącej infrastruktury</a:t>
            </a:r>
            <a:endParaRPr lang="pl-PL" sz="14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7" name="Straight Connector 6"/>
          <p:cNvCxnSpPr>
            <a:stCxn id="113" idx="0"/>
            <a:endCxn id="129" idx="3"/>
          </p:cNvCxnSpPr>
          <p:nvPr/>
        </p:nvCxnSpPr>
        <p:spPr>
          <a:xfrm flipV="1">
            <a:off x="6225734" y="2208580"/>
            <a:ext cx="332788" cy="86391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stCxn id="131" idx="2"/>
            <a:endCxn id="120" idx="0"/>
          </p:cNvCxnSpPr>
          <p:nvPr/>
        </p:nvCxnSpPr>
        <p:spPr>
          <a:xfrm>
            <a:off x="6670910" y="2238864"/>
            <a:ext cx="209730" cy="146870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113" idx="2"/>
            <a:endCxn id="120" idx="1"/>
          </p:cNvCxnSpPr>
          <p:nvPr/>
        </p:nvCxnSpPr>
        <p:spPr>
          <a:xfrm>
            <a:off x="6225734" y="3247205"/>
            <a:ext cx="579359" cy="49228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131" idx="3"/>
          </p:cNvCxnSpPr>
          <p:nvPr/>
        </p:nvCxnSpPr>
        <p:spPr>
          <a:xfrm>
            <a:off x="6703865" y="2151510"/>
            <a:ext cx="147451" cy="1044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131" idx="3"/>
          </p:cNvCxnSpPr>
          <p:nvPr/>
        </p:nvCxnSpPr>
        <p:spPr>
          <a:xfrm>
            <a:off x="6703865" y="2151510"/>
            <a:ext cx="647194" cy="1044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135" idx="11"/>
          </p:cNvCxnSpPr>
          <p:nvPr/>
        </p:nvCxnSpPr>
        <p:spPr>
          <a:xfrm>
            <a:off x="6295732" y="2077290"/>
            <a:ext cx="277799" cy="367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endCxn id="129" idx="2"/>
          </p:cNvCxnSpPr>
          <p:nvPr/>
        </p:nvCxnSpPr>
        <p:spPr>
          <a:xfrm flipV="1">
            <a:off x="5629835" y="2131524"/>
            <a:ext cx="897395" cy="1244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endCxn id="129" idx="2"/>
          </p:cNvCxnSpPr>
          <p:nvPr/>
        </p:nvCxnSpPr>
        <p:spPr>
          <a:xfrm flipV="1">
            <a:off x="6295732" y="2131524"/>
            <a:ext cx="231498" cy="2455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endCxn id="111" idx="1"/>
          </p:cNvCxnSpPr>
          <p:nvPr/>
        </p:nvCxnSpPr>
        <p:spPr>
          <a:xfrm>
            <a:off x="5889812" y="2859557"/>
            <a:ext cx="223534" cy="2032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endCxn id="117" idx="16"/>
          </p:cNvCxnSpPr>
          <p:nvPr/>
        </p:nvCxnSpPr>
        <p:spPr>
          <a:xfrm>
            <a:off x="5468471" y="3006106"/>
            <a:ext cx="649517" cy="1126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endCxn id="111" idx="3"/>
          </p:cNvCxnSpPr>
          <p:nvPr/>
        </p:nvCxnSpPr>
        <p:spPr>
          <a:xfrm flipV="1">
            <a:off x="5629835" y="3216921"/>
            <a:ext cx="483511" cy="932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endCxn id="111" idx="3"/>
          </p:cNvCxnSpPr>
          <p:nvPr/>
        </p:nvCxnSpPr>
        <p:spPr>
          <a:xfrm flipV="1">
            <a:off x="5782235" y="3216921"/>
            <a:ext cx="331111" cy="4127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113" idx="1"/>
          </p:cNvCxnSpPr>
          <p:nvPr/>
        </p:nvCxnSpPr>
        <p:spPr>
          <a:xfrm>
            <a:off x="6192778" y="3159851"/>
            <a:ext cx="365744" cy="1819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113" idx="3"/>
          </p:cNvCxnSpPr>
          <p:nvPr/>
        </p:nvCxnSpPr>
        <p:spPr>
          <a:xfrm flipV="1">
            <a:off x="6258689" y="3159712"/>
            <a:ext cx="314842" cy="1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endCxn id="111" idx="4"/>
          </p:cNvCxnSpPr>
          <p:nvPr/>
        </p:nvCxnSpPr>
        <p:spPr>
          <a:xfrm flipV="1">
            <a:off x="6097818" y="3248839"/>
            <a:ext cx="91075" cy="3807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endCxn id="120" idx="3"/>
          </p:cNvCxnSpPr>
          <p:nvPr/>
        </p:nvCxnSpPr>
        <p:spPr>
          <a:xfrm flipV="1">
            <a:off x="6527230" y="3893602"/>
            <a:ext cx="277863" cy="1735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endCxn id="120" idx="3"/>
          </p:cNvCxnSpPr>
          <p:nvPr/>
        </p:nvCxnSpPr>
        <p:spPr>
          <a:xfrm flipV="1">
            <a:off x="6295732" y="3893602"/>
            <a:ext cx="509361" cy="51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124" idx="0"/>
          </p:cNvCxnSpPr>
          <p:nvPr/>
        </p:nvCxnSpPr>
        <p:spPr>
          <a:xfrm>
            <a:off x="6527230" y="3603151"/>
            <a:ext cx="286646" cy="1591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122" idx="0"/>
          </p:cNvCxnSpPr>
          <p:nvPr/>
        </p:nvCxnSpPr>
        <p:spPr>
          <a:xfrm flipV="1">
            <a:off x="6917481" y="3341771"/>
            <a:ext cx="137743" cy="4074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122" idx="3"/>
          </p:cNvCxnSpPr>
          <p:nvPr/>
        </p:nvCxnSpPr>
        <p:spPr>
          <a:xfrm>
            <a:off x="6950436" y="3836532"/>
            <a:ext cx="400623" cy="1082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endCxn id="122" idx="2"/>
          </p:cNvCxnSpPr>
          <p:nvPr/>
        </p:nvCxnSpPr>
        <p:spPr>
          <a:xfrm flipV="1">
            <a:off x="6914404" y="3923886"/>
            <a:ext cx="3077" cy="2183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6987479" y="3430970"/>
            <a:ext cx="704239" cy="4055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>
            <a:endCxn id="111" idx="1"/>
          </p:cNvCxnSpPr>
          <p:nvPr/>
        </p:nvCxnSpPr>
        <p:spPr>
          <a:xfrm flipH="1">
            <a:off x="6113346" y="2555383"/>
            <a:ext cx="55704" cy="5074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>
            <a:endCxn id="131" idx="2"/>
          </p:cNvCxnSpPr>
          <p:nvPr/>
        </p:nvCxnSpPr>
        <p:spPr>
          <a:xfrm flipH="1" flipV="1">
            <a:off x="6670910" y="2238864"/>
            <a:ext cx="500855" cy="5260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>
            <a:endCxn id="131" idx="1"/>
          </p:cNvCxnSpPr>
          <p:nvPr/>
        </p:nvCxnSpPr>
        <p:spPr>
          <a:xfrm flipH="1" flipV="1">
            <a:off x="6637954" y="2151510"/>
            <a:ext cx="937222" cy="4038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>
            <a:endCxn id="122" idx="0"/>
          </p:cNvCxnSpPr>
          <p:nvPr/>
        </p:nvCxnSpPr>
        <p:spPr>
          <a:xfrm flipH="1">
            <a:off x="6917481" y="3372557"/>
            <a:ext cx="541154" cy="3766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>
            <a:endCxn id="113" idx="1"/>
          </p:cNvCxnSpPr>
          <p:nvPr/>
        </p:nvCxnSpPr>
        <p:spPr>
          <a:xfrm flipH="1">
            <a:off x="6192778" y="2984435"/>
            <a:ext cx="721626" cy="1754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>
            <a:endCxn id="113" idx="3"/>
          </p:cNvCxnSpPr>
          <p:nvPr/>
        </p:nvCxnSpPr>
        <p:spPr>
          <a:xfrm flipH="1">
            <a:off x="6258689" y="2764865"/>
            <a:ext cx="371826" cy="3949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9770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966" y="304800"/>
            <a:ext cx="8199635" cy="914400"/>
          </a:xfrm>
        </p:spPr>
        <p:txBody>
          <a:bodyPr/>
          <a:lstStyle/>
          <a:p>
            <a:r>
              <a:rPr lang="pl-PL" dirty="0" smtClean="0"/>
              <a:t>W środowisku R testujemy algorytmy </a:t>
            </a:r>
            <a:r>
              <a:rPr lang="pl-PL" dirty="0" err="1" smtClean="0"/>
              <a:t>klastrujące</a:t>
            </a:r>
            <a:r>
              <a:rPr lang="pl-PL" dirty="0" smtClean="0"/>
              <a:t> oraz porównujemy dużą liczbę kombinacji scenariuszy z wykorzystaniem mocy serwerów DA</a:t>
            </a:r>
            <a:endParaRPr lang="pl-PL" dirty="0"/>
          </a:p>
        </p:txBody>
      </p:sp>
      <p:sp>
        <p:nvSpPr>
          <p:cNvPr id="4" name="TextBox 3"/>
          <p:cNvSpPr txBox="1"/>
          <p:nvPr/>
        </p:nvSpPr>
        <p:spPr>
          <a:xfrm>
            <a:off x="591670" y="1757081"/>
            <a:ext cx="6624917" cy="4679578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pl-PL" sz="2000" dirty="0" err="1" smtClean="0">
              <a:latin typeface="Georgia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91670" y="1398494"/>
            <a:ext cx="6490447" cy="2689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400" i="1" dirty="0" smtClean="0">
                <a:solidFill>
                  <a:srgbClr val="FFFFFF"/>
                </a:solidFill>
                <a:latin typeface="Georgia" pitchFamily="18" charset="0"/>
              </a:rPr>
              <a:t>Przykładowy pseudokod w R napisany do rozwiązania problemu logistycznego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1318" y="1828801"/>
            <a:ext cx="2438399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library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…)</a:t>
            </a:r>
          </a:p>
          <a:p>
            <a:pPr indent="-274320">
              <a:spcAft>
                <a:spcPts val="900"/>
              </a:spcAft>
            </a:pP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…)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681319" y="2330824"/>
            <a:ext cx="2438398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flowMatrix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 …</a:t>
            </a:r>
          </a:p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distanceMatrix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 …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322729" y="283284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pl-PL" sz="2000" dirty="0" err="1" smtClean="0">
              <a:latin typeface="Georgia" pitchFamily="18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681319" y="2823882"/>
            <a:ext cx="2438398" cy="654423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while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iterator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&gt;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maxIter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){</a:t>
            </a:r>
          </a:p>
          <a:p>
            <a:pPr indent="-274320">
              <a:spcAft>
                <a:spcPts val="900"/>
              </a:spcAft>
            </a:pP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   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new_clusters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clustering_fun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…)</a:t>
            </a:r>
          </a:p>
          <a:p>
            <a:pPr indent="-274320">
              <a:spcAft>
                <a:spcPts val="900"/>
              </a:spcAft>
            </a:pPr>
            <a:r>
              <a:rPr lang="pl-PL" sz="800" dirty="0">
                <a:solidFill>
                  <a:srgbClr val="FFFFFF"/>
                </a:solidFill>
                <a:latin typeface="Georgia" pitchFamily="18" charset="0"/>
              </a:rPr>
              <a:t>}</a:t>
            </a:r>
            <a:endParaRPr lang="pl-PL" sz="800" dirty="0" smtClean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681319" y="3545539"/>
            <a:ext cx="2438398" cy="354108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ggplot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…)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81318" y="3989294"/>
            <a:ext cx="2438399" cy="116541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possible_scenarios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 (…)</a:t>
            </a:r>
          </a:p>
          <a:p>
            <a:pPr indent="-274320">
              <a:spcAft>
                <a:spcPts val="900"/>
              </a:spcAft>
            </a:pP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for(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iter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 0;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iter</a:t>
            </a:r>
            <a:r>
              <a:rPr lang="pl-PL" sz="800" dirty="0">
                <a:solidFill>
                  <a:srgbClr val="FFFFFF"/>
                </a:solidFill>
                <a:latin typeface="Georgia" pitchFamily="18" charset="0"/>
              </a:rPr>
              <a:t> 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&lt;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length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possible_scenarios</a:t>
            </a:r>
            <a:r>
              <a:rPr lang="pl-PL" sz="800" dirty="0">
                <a:solidFill>
                  <a:srgbClr val="FFFFFF"/>
                </a:solidFill>
                <a:latin typeface="Georgia" pitchFamily="18" charset="0"/>
              </a:rPr>
              <a:t>;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iter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++){</a:t>
            </a:r>
          </a:p>
          <a:p>
            <a:pPr indent="-274320">
              <a:spcAft>
                <a:spcPts val="900"/>
              </a:spcAft>
            </a:pPr>
            <a:r>
              <a:rPr lang="pl-PL" sz="800" dirty="0">
                <a:solidFill>
                  <a:srgbClr val="FFFFFF"/>
                </a:solidFill>
                <a:latin typeface="Georgia" pitchFamily="18" charset="0"/>
              </a:rPr>
              <a:t> 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  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new_scenario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possible_scenarios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[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iter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]</a:t>
            </a:r>
          </a:p>
          <a:p>
            <a:pPr indent="-274320">
              <a:spcAft>
                <a:spcPts val="900"/>
              </a:spcAft>
            </a:pPr>
            <a:r>
              <a:rPr lang="pl-PL" sz="800" dirty="0">
                <a:solidFill>
                  <a:srgbClr val="FFFFFF"/>
                </a:solidFill>
                <a:latin typeface="Georgia" pitchFamily="18" charset="0"/>
              </a:rPr>
              <a:t> 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  </a:t>
            </a: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new_cost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 =(...)</a:t>
            </a:r>
          </a:p>
          <a:p>
            <a:pPr indent="-274320">
              <a:spcAft>
                <a:spcPts val="900"/>
              </a:spcAft>
            </a:pPr>
            <a:r>
              <a:rPr lang="pl-PL" sz="800" dirty="0">
                <a:solidFill>
                  <a:srgbClr val="FFFFFF"/>
                </a:solidFill>
                <a:latin typeface="Georgia" pitchFamily="18" charset="0"/>
              </a:rPr>
              <a:t>}</a:t>
            </a:r>
            <a:endParaRPr lang="pl-PL" sz="800" dirty="0" smtClean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681319" y="5244355"/>
            <a:ext cx="2438398" cy="32272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ggplot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…)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3550025" y="1828801"/>
            <a:ext cx="3594846" cy="412376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Wykorzystujemy pakiety </a:t>
            </a:r>
            <a:r>
              <a:rPr lang="pl-PL" sz="1100" dirty="0" err="1" smtClean="0">
                <a:solidFill>
                  <a:schemeClr val="bg1"/>
                </a:solidFill>
                <a:latin typeface="Georgia" pitchFamily="18" charset="0"/>
              </a:rPr>
              <a:t>opensource’owe</a:t>
            </a:r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, jak również te napisane przez nas na dotychczasowych projektach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3550025" y="2330824"/>
            <a:ext cx="3594846" cy="412376"/>
          </a:xfrm>
          <a:prstGeom prst="rect">
            <a:avLst/>
          </a:prstGeom>
          <a:solidFill>
            <a:schemeClr val="tx2"/>
          </a:solidFill>
          <a:ln w="3175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Pobieramy dane z baz danych (SQL Server, Oracle, </a:t>
            </a:r>
            <a:r>
              <a:rPr lang="pl-PL" sz="1100" dirty="0" err="1" smtClean="0">
                <a:solidFill>
                  <a:schemeClr val="bg1"/>
                </a:solidFill>
                <a:latin typeface="Georgia" pitchFamily="18" charset="0"/>
              </a:rPr>
              <a:t>Hadoop</a:t>
            </a:r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) i przekształcamy dane do pożądanych postaci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3550025" y="2823881"/>
            <a:ext cx="3594846" cy="654423"/>
          </a:xfrm>
          <a:prstGeom prst="rect">
            <a:avLst/>
          </a:prstGeom>
          <a:solidFill>
            <a:schemeClr val="tx2"/>
          </a:solidFill>
          <a:ln w="3175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Testujemy różne algorytmy </a:t>
            </a:r>
            <a:r>
              <a:rPr lang="pl-PL" sz="1100" dirty="0" err="1" smtClean="0">
                <a:solidFill>
                  <a:schemeClr val="bg1"/>
                </a:solidFill>
                <a:latin typeface="Georgia" pitchFamily="18" charset="0"/>
              </a:rPr>
              <a:t>klastrujące</a:t>
            </a:r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 (m.in. </a:t>
            </a:r>
            <a:r>
              <a:rPr lang="pl-PL" sz="1100" dirty="0" err="1" smtClean="0">
                <a:solidFill>
                  <a:schemeClr val="bg1"/>
                </a:solidFill>
                <a:latin typeface="Georgia" pitchFamily="18" charset="0"/>
              </a:rPr>
              <a:t>kmeans</a:t>
            </a:r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, algorytmy gęstościowe), aby nasze rozwiązanie spełniało wymagania stawiane przez klienta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3550025" y="3541060"/>
            <a:ext cx="3594846" cy="358587"/>
          </a:xfrm>
          <a:prstGeom prst="rect">
            <a:avLst/>
          </a:prstGeom>
          <a:solidFill>
            <a:schemeClr val="tx2"/>
          </a:solidFill>
          <a:ln w="3175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Wizualizujemy rozwiązania w celu ich bieżącej weryfikacji</a:t>
            </a:r>
          </a:p>
        </p:txBody>
      </p:sp>
      <p:sp>
        <p:nvSpPr>
          <p:cNvPr id="187" name="Rectangle 186"/>
          <p:cNvSpPr/>
          <p:nvPr/>
        </p:nvSpPr>
        <p:spPr bwMode="ltGray">
          <a:xfrm>
            <a:off x="3550025" y="3989294"/>
            <a:ext cx="3594846" cy="1165414"/>
          </a:xfrm>
          <a:prstGeom prst="rect">
            <a:avLst/>
          </a:prstGeom>
          <a:solidFill>
            <a:schemeClr val="tx2"/>
          </a:solidFill>
          <a:ln w="3175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Przeliczamy funkcje kosztu poszczególnych, założonych uprzednio, scenariuszy, aby znaleźć optymalną postać funkcjonowania sieci przy spełnieniu ograniczeń terminowości, przepustowości elementów, zasięgu pojazdów, itp.</a:t>
            </a:r>
          </a:p>
        </p:txBody>
      </p:sp>
      <p:sp>
        <p:nvSpPr>
          <p:cNvPr id="188" name="Rectangle 187"/>
          <p:cNvSpPr/>
          <p:nvPr/>
        </p:nvSpPr>
        <p:spPr bwMode="ltGray">
          <a:xfrm>
            <a:off x="3550025" y="5244355"/>
            <a:ext cx="3594846" cy="322727"/>
          </a:xfrm>
          <a:prstGeom prst="rect">
            <a:avLst/>
          </a:prstGeom>
          <a:solidFill>
            <a:schemeClr val="tx2"/>
          </a:solidFill>
          <a:ln w="3175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Wizualizujemy rozwiązania w celu ich bieżącej weryfikacji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81318" y="5656728"/>
            <a:ext cx="2438398" cy="546848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800" dirty="0" err="1" smtClean="0">
                <a:solidFill>
                  <a:srgbClr val="FFFFFF"/>
                </a:solidFill>
                <a:latin typeface="Georgia" pitchFamily="18" charset="0"/>
              </a:rPr>
              <a:t>write_output</a:t>
            </a:r>
            <a:r>
              <a:rPr lang="pl-PL" sz="800" dirty="0" smtClean="0">
                <a:solidFill>
                  <a:srgbClr val="FFFFFF"/>
                </a:solidFill>
                <a:latin typeface="Georgia" pitchFamily="18" charset="0"/>
              </a:rPr>
              <a:t>(…)</a:t>
            </a:r>
          </a:p>
        </p:txBody>
      </p:sp>
      <p:sp>
        <p:nvSpPr>
          <p:cNvPr id="191" name="Rectangle 190"/>
          <p:cNvSpPr/>
          <p:nvPr/>
        </p:nvSpPr>
        <p:spPr bwMode="ltGray">
          <a:xfrm>
            <a:off x="3550025" y="5656730"/>
            <a:ext cx="3594846" cy="546846"/>
          </a:xfrm>
          <a:prstGeom prst="rect">
            <a:avLst/>
          </a:prstGeom>
          <a:solidFill>
            <a:schemeClr val="tx2"/>
          </a:solidFill>
          <a:ln w="3175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Eksportujemy wyniki analiz do baz danych w celu ich późniejszej prezentacji i/lub dalszych prac(symulacje sieci real-</a:t>
            </a:r>
            <a:r>
              <a:rPr lang="pl-PL" sz="1100" dirty="0" err="1" smtClean="0">
                <a:solidFill>
                  <a:schemeClr val="bg1"/>
                </a:solidFill>
                <a:latin typeface="Georgia" pitchFamily="18" charset="0"/>
              </a:rPr>
              <a:t>time</a:t>
            </a:r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, porównanie </a:t>
            </a:r>
            <a:r>
              <a:rPr lang="pl-PL" sz="1100" i="1" dirty="0" smtClean="0">
                <a:solidFill>
                  <a:schemeClr val="bg1"/>
                </a:solidFill>
                <a:latin typeface="Georgia" pitchFamily="18" charset="0"/>
              </a:rPr>
              <a:t>as </a:t>
            </a:r>
            <a:r>
              <a:rPr lang="pl-PL" sz="1100" i="1" dirty="0" err="1" smtClean="0">
                <a:solidFill>
                  <a:schemeClr val="bg1"/>
                </a:solidFill>
                <a:latin typeface="Georgia" pitchFamily="18" charset="0"/>
              </a:rPr>
              <a:t>is</a:t>
            </a:r>
            <a:r>
              <a:rPr lang="pl-PL" sz="1100" i="1" dirty="0" smtClean="0">
                <a:solidFill>
                  <a:schemeClr val="bg1"/>
                </a:solidFill>
                <a:latin typeface="Georgia" pitchFamily="18" charset="0"/>
              </a:rPr>
              <a:t> – to be, </a:t>
            </a:r>
            <a:r>
              <a:rPr lang="pl-PL" sz="1100" dirty="0" smtClean="0">
                <a:solidFill>
                  <a:schemeClr val="bg1"/>
                </a:solidFill>
                <a:latin typeface="Georgia" pitchFamily="18" charset="0"/>
              </a:rPr>
              <a:t>itp.)</a:t>
            </a:r>
          </a:p>
        </p:txBody>
      </p:sp>
    </p:spTree>
    <p:extLst>
      <p:ext uri="{BB962C8B-B14F-4D97-AF65-F5344CB8AC3E}">
        <p14:creationId xmlns:p14="http://schemas.microsoft.com/office/powerpoint/2010/main" val="290128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2_PwC">
  <a:themeElements>
    <a:clrScheme name="PwC Grey">
      <a:dk1>
        <a:srgbClr val="000000"/>
      </a:dk1>
      <a:lt1>
        <a:srgbClr val="FFFFFF"/>
      </a:lt1>
      <a:dk2>
        <a:srgbClr val="968C6D"/>
      </a:dk2>
      <a:lt2>
        <a:srgbClr val="FFFFFF"/>
      </a:lt2>
      <a:accent1>
        <a:srgbClr val="968C6D"/>
      </a:accent1>
      <a:accent2>
        <a:srgbClr val="D5D1C5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968C6D"/>
      </a:hlink>
      <a:folHlink>
        <a:srgbClr val="968C6D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</Template>
  <TotalTime>42200</TotalTime>
  <Words>731</Words>
  <Application>Microsoft Office PowerPoint</Application>
  <PresentationFormat>On-screen Show (4:3)</PresentationFormat>
  <Paragraphs>209</Paragraphs>
  <Slides>11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Georgia</vt:lpstr>
      <vt:lpstr>2_PwC</vt:lpstr>
      <vt:lpstr>think-cell Slide</vt:lpstr>
      <vt:lpstr>Logistyka i Supply Chain Management z wykorzystaniem R Paweł Pitera, PwC Data Analytics pawel.pitera@pwc.com</vt:lpstr>
      <vt:lpstr>Zespół PwC Data Analytics na co dzień tworzy rozwiązania pozwalające klientom efektywniej wykorzystywać dane</vt:lpstr>
      <vt:lpstr>Logistyka oraz zarządzanie łańcuchem dostaw jest dyscypliną coraz szybciej rozwijającą się w zespole</vt:lpstr>
      <vt:lpstr>Wyzwania logistyczne dotyczą przedsiębiorstw z rozmaitych branż</vt:lpstr>
      <vt:lpstr>Optymalizując sieci logistyczne i łańcuchy dostaw, podchodzimy do problemu kompleksowo</vt:lpstr>
      <vt:lpstr>W naszych projektach logistycznych wykorzystujemy zaawansowane narzędzia analityczne</vt:lpstr>
      <vt:lpstr>Środowisko R wykorzystujemy do projektowania sieci logistycznych oraz do analizy scenariuszowej</vt:lpstr>
      <vt:lpstr>Analiza scenariuszowa pozwala na wyznaczenie najbardziej efektywnej kosztowo postaci sieci</vt:lpstr>
      <vt:lpstr>W środowisku R testujemy algorytmy klastrujące oraz porównujemy dużą liczbę kombinacji scenariuszy z wykorzystaniem mocy serwerów DA</vt:lpstr>
      <vt:lpstr>Optymalny scenariusz sieci logistycznej jest finalnie testowany poprzez jego dynamiczną symulację w narzędziu Anylogic</vt:lpstr>
      <vt:lpstr>Dziękuję za uwagę</vt:lpstr>
    </vt:vector>
  </TitlesOfParts>
  <Company>P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g Data Team</dc:title>
  <dc:creator>Michal Kwiecinski</dc:creator>
  <cp:lastModifiedBy>Pawel Pitera</cp:lastModifiedBy>
  <cp:revision>1292</cp:revision>
  <cp:lastPrinted>2017-04-04T18:02:05Z</cp:lastPrinted>
  <dcterms:created xsi:type="dcterms:W3CDTF">2010-09-07T13:26:45Z</dcterms:created>
  <dcterms:modified xsi:type="dcterms:W3CDTF">2017-10-02T09:2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